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8" r:id="rId5"/>
    <p:sldMasterId id="2147483700" r:id="rId6"/>
  </p:sldMasterIdLst>
  <p:notesMasterIdLst>
    <p:notesMasterId r:id="rId36"/>
  </p:notesMasterIdLst>
  <p:handoutMasterIdLst>
    <p:handoutMasterId r:id="rId37"/>
  </p:handoutMasterIdLst>
  <p:sldIdLst>
    <p:sldId id="256" r:id="rId7"/>
    <p:sldId id="267" r:id="rId8"/>
    <p:sldId id="1270" r:id="rId9"/>
    <p:sldId id="799" r:id="rId10"/>
    <p:sldId id="1189" r:id="rId11"/>
    <p:sldId id="1349" r:id="rId12"/>
    <p:sldId id="1283" r:id="rId13"/>
    <p:sldId id="1060" r:id="rId14"/>
    <p:sldId id="345" r:id="rId15"/>
    <p:sldId id="348" r:id="rId16"/>
    <p:sldId id="1350" r:id="rId17"/>
    <p:sldId id="297" r:id="rId18"/>
    <p:sldId id="281" r:id="rId19"/>
    <p:sldId id="1284" r:id="rId20"/>
    <p:sldId id="1150" r:id="rId21"/>
    <p:sldId id="1325" r:id="rId22"/>
    <p:sldId id="1185" r:id="rId23"/>
    <p:sldId id="1348" r:id="rId24"/>
    <p:sldId id="1320" r:id="rId25"/>
    <p:sldId id="1264" r:id="rId26"/>
    <p:sldId id="1208" r:id="rId27"/>
    <p:sldId id="521" r:id="rId28"/>
    <p:sldId id="1053" r:id="rId29"/>
    <p:sldId id="1351" r:id="rId30"/>
    <p:sldId id="1050" r:id="rId31"/>
    <p:sldId id="993" r:id="rId32"/>
    <p:sldId id="1085" r:id="rId33"/>
    <p:sldId id="1080" r:id="rId34"/>
    <p:sldId id="1056" r:id="rId35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 Torgersen" initials="PT" lastIdx="1" clrIdx="0">
    <p:extLst>
      <p:ext uri="{19B8F6BF-5375-455C-9EA6-DF929625EA0E}">
        <p15:presenceInfo xmlns:p15="http://schemas.microsoft.com/office/powerpoint/2012/main" userId="S-1-12-1-1167100167-1248331326-1242494362-22624867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44" autoAdjust="0"/>
    <p:restoredTop sz="57206" autoAdjust="0"/>
  </p:normalViewPr>
  <p:slideViewPr>
    <p:cSldViewPr snapToGrid="0">
      <p:cViewPr varScale="1">
        <p:scale>
          <a:sx n="63" d="100"/>
          <a:sy n="63" d="100"/>
        </p:scale>
        <p:origin x="1113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6912"/>
    </p:cViewPr>
  </p:sorterViewPr>
  <p:notesViewPr>
    <p:cSldViewPr snapToGrid="0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FA6A605A-2711-4551-80F7-6C8BC17171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DB350A2-BB00-4CAD-BBC0-314AE7A19EF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E9BB19-259B-4DB2-95EA-6E31C568F3D2}" type="datetimeFigureOut">
              <a:rPr lang="nb-NO" smtClean="0"/>
              <a:t>17.04.2020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7526916-7B9C-4C67-A541-8AA4C845FE5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6BD1402-D5DD-4BEE-8570-011D0ED6D9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A0422-4622-4F79-8E40-2D8669420CC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11893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AEB0D1-635C-42C8-8017-3E419926228E}" type="datetimeFigureOut">
              <a:rPr lang="nb-NO" smtClean="0"/>
              <a:t>17.04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7C33D3-AA78-4A1D-BE99-7092A40E980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0581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7C33D3-AA78-4A1D-BE99-7092A40E980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8898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7C33D3-AA78-4A1D-BE99-7092A40E980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8446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7C33D3-AA78-4A1D-BE99-7092A40E980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85468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/>
              <a:t>Kl</a:t>
            </a:r>
            <a:r>
              <a:rPr lang="nb-NO" dirty="0"/>
              <a:t> 13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7C33D3-AA78-4A1D-BE99-7092A40E980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93140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7C33D3-AA78-4A1D-BE99-7092A40E980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4537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/>
              <a:t>Kl</a:t>
            </a:r>
            <a:r>
              <a:rPr lang="nb-NO" dirty="0"/>
              <a:t> 13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7C33D3-AA78-4A1D-BE99-7092A40E980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0525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ygger kost etter rater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7C33D3-AA78-4A1D-BE99-7092A40E980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06080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07D9F8-F786-4F29-B728-1094FE9B1DE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1DB3BBDF-B441-45D1-BE27-DBE21A8D408F}"/>
              </a:ext>
            </a:extLst>
          </p:cNvPr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rwer</a:t>
            </a:r>
          </a:p>
        </p:txBody>
      </p:sp>
    </p:spTree>
    <p:extLst>
      <p:ext uri="{BB962C8B-B14F-4D97-AF65-F5344CB8AC3E}">
        <p14:creationId xmlns:p14="http://schemas.microsoft.com/office/powerpoint/2010/main" val="7795804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7C33D3-AA78-4A1D-BE99-7092A40E9805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2700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3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00" y="269441"/>
            <a:ext cx="3600000" cy="79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E96D0C4E-BF21-4915-940B-84C9803AC6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361" y="3429000"/>
            <a:ext cx="5742039" cy="3229897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064C0FE-63B3-49E2-8805-D28644953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7641" y="2621809"/>
            <a:ext cx="8855792" cy="1032388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Undertittel 2">
            <a:extLst>
              <a:ext uri="{FF2B5EF4-FFF2-40B4-BE49-F238E27FC236}">
                <a16:creationId xmlns:a16="http://schemas.microsoft.com/office/drawing/2014/main" id="{B463A5C9-0CF4-4A60-866B-BA2D12EAB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641" y="4008772"/>
            <a:ext cx="8855792" cy="368096"/>
          </a:xfrm>
          <a:prstGeom prst="rect">
            <a:avLst/>
          </a:prstGeom>
        </p:spPr>
        <p:txBody>
          <a:bodyPr lIns="90000"/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952298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 (ly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05D26038-4F2F-4C27-8ABF-5C4BBBA679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63400" y="269441"/>
            <a:ext cx="3600000" cy="79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19D2CE2-1ABA-4758-B8EC-0CE50ED32C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7641" y="2621809"/>
            <a:ext cx="8855792" cy="1032388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7DABAC85-355B-4110-8302-2588B2ACB6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641" y="4008772"/>
            <a:ext cx="8855792" cy="368096"/>
          </a:xfrm>
          <a:prstGeom prst="rect">
            <a:avLst/>
          </a:prstGeom>
        </p:spPr>
        <p:txBody>
          <a:bodyPr lIns="90000"/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96D0C4E-BF21-4915-940B-84C9803AC6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361" y="3429000"/>
            <a:ext cx="5742039" cy="322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954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84087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78025" y="331773"/>
            <a:ext cx="10276884" cy="226578"/>
          </a:xfrm>
          <a:prstGeom prst="rect">
            <a:avLst/>
          </a:prstGeom>
        </p:spPr>
        <p:txBody>
          <a:bodyPr lIns="121917" tIns="60958" rIns="121917" bIns="60958" anchor="ctr"/>
          <a:lstStyle>
            <a:lvl1pPr>
              <a:defRPr sz="1500" b="0" cap="all" baseline="0">
                <a:solidFill>
                  <a:schemeClr val="accent3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noProof="0" dirty="0" err="1"/>
              <a:t>Tema</a:t>
            </a:r>
            <a:endParaRPr lang="nb-NO" noProof="0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178025" y="574830"/>
            <a:ext cx="10276884" cy="4937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50586B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1783402756"/>
      </p:ext>
    </p:extLst>
  </p:cSld>
  <p:clrMapOvr>
    <a:masterClrMapping/>
  </p:clrMapOvr>
  <p:transition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innhold med hexag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honeycomb, animal, turtle, indoor&#10;&#10;Description generated with high confidence">
            <a:extLst>
              <a:ext uri="{FF2B5EF4-FFF2-40B4-BE49-F238E27FC236}">
                <a16:creationId xmlns:a16="http://schemas.microsoft.com/office/drawing/2014/main" id="{A8853B8B-EA76-485C-9E81-827EC52098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6795" b="16120"/>
          <a:stretch/>
        </p:blipFill>
        <p:spPr>
          <a:xfrm>
            <a:off x="6096000" y="2348880"/>
            <a:ext cx="6096000" cy="450912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0" y="1543819"/>
            <a:ext cx="10825204" cy="469349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27380" y="753646"/>
            <a:ext cx="10825204" cy="457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0" i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nb-NO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7381" y="6525344"/>
            <a:ext cx="913169" cy="130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fld id="{D3736646-CFBC-4667-8634-4C958D42C91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172047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6" y="234951"/>
            <a:ext cx="9793817" cy="457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3333"/>
                </a:solidFill>
              </a:defRPr>
            </a:lvl1pPr>
            <a:lvl2pPr>
              <a:defRPr>
                <a:solidFill>
                  <a:srgbClr val="003333"/>
                </a:solidFill>
              </a:defRPr>
            </a:lvl2pPr>
            <a:lvl3pPr>
              <a:defRPr>
                <a:solidFill>
                  <a:srgbClr val="003333"/>
                </a:solidFill>
              </a:defRPr>
            </a:lvl3pPr>
            <a:lvl4pPr>
              <a:defRPr>
                <a:solidFill>
                  <a:srgbClr val="003333"/>
                </a:solidFill>
              </a:defRPr>
            </a:lvl4pPr>
            <a:lvl5pPr>
              <a:defRPr>
                <a:solidFill>
                  <a:srgbClr val="00333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Rectangle 2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 </a:t>
            </a:r>
            <a:r>
              <a:rPr lang="nb-NO">
                <a:solidFill>
                  <a:srgbClr val="B2B2B2"/>
                </a:solidFill>
              </a:rPr>
              <a:t>Page </a:t>
            </a:r>
            <a:fld id="{8B22571D-D5D5-40CD-BDEE-B043C448704D}" type="slidenum">
              <a:rPr lang="nb-NO">
                <a:solidFill>
                  <a:srgbClr val="B2B2B2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B2B2B2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6669088"/>
            <a:ext cx="12192000" cy="21544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nb-NO" sz="8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©All </a:t>
            </a:r>
            <a:r>
              <a:rPr lang="nb-NO" sz="800" dirty="0" err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rights</a:t>
            </a:r>
            <a:r>
              <a:rPr lang="nb-NO" sz="8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nb-NO" sz="800" dirty="0" err="1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reserved</a:t>
            </a:r>
            <a:r>
              <a:rPr lang="nb-NO" sz="8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 - Metier AS</a:t>
            </a:r>
          </a:p>
        </p:txBody>
      </p:sp>
    </p:spTree>
    <p:extLst>
      <p:ext uri="{BB962C8B-B14F-4D97-AF65-F5344CB8AC3E}">
        <p14:creationId xmlns:p14="http://schemas.microsoft.com/office/powerpoint/2010/main" val="101263353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/>
          </p:nvPr>
        </p:nvSpPr>
        <p:spPr>
          <a:xfrm>
            <a:off x="609600" y="274641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C2513C-D3B1-4A87-8BAB-42CDC7E0802C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05330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8CDCCE-2AEC-4718-89AD-3DA945225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7EC44-3AF1-4BEB-ADBF-6F11A228BBEF}" type="datetimeFigureOut">
              <a:rPr lang="nb-NO" smtClean="0"/>
              <a:t>17.04.2020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FE4238-A88F-43C2-9280-7535BE6FF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2BD21B-0E85-4AF7-B463-96FE9AF81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AA5AC8-F841-48B3-A699-5EE95EDDCE1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4625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239186" y="1492251"/>
            <a:ext cx="11618383" cy="49932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89998" tIns="46799" rIns="89998" bIns="46799"/>
          <a:lstStyle/>
          <a:p>
            <a:pPr algn="ctr" eaLnBrk="0" hangingPunct="0">
              <a:defRPr/>
            </a:pPr>
            <a:endParaRPr lang="nb-NO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381" y="1586756"/>
            <a:ext cx="10566400" cy="464396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1805" y="476672"/>
            <a:ext cx="9696457" cy="457200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 b="0" i="0">
                <a:solidFill>
                  <a:schemeClr val="accent3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dirty="0"/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639416" y="6546851"/>
            <a:ext cx="913169" cy="130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fld id="{D3736646-CFBC-4667-8634-4C958D42C91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4827223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00" y="269441"/>
            <a:ext cx="3600000" cy="79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E96D0C4E-BF21-4915-940B-84C9803AC6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361" y="3429000"/>
            <a:ext cx="5742039" cy="3229897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064C0FE-63B3-49E2-8805-D28644953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7641" y="2621809"/>
            <a:ext cx="8855792" cy="1032388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Undertittel 2">
            <a:extLst>
              <a:ext uri="{FF2B5EF4-FFF2-40B4-BE49-F238E27FC236}">
                <a16:creationId xmlns:a16="http://schemas.microsoft.com/office/drawing/2014/main" id="{B463A5C9-0CF4-4A60-866B-BA2D12EAB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641" y="4008772"/>
            <a:ext cx="8855792" cy="368096"/>
          </a:xfrm>
          <a:prstGeom prst="rect">
            <a:avLst/>
          </a:prstGeom>
        </p:spPr>
        <p:txBody>
          <a:bodyPr lIns="90000"/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977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7605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858462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(teks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532D8E0F-CB35-477A-B655-5526D7ED3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432651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dtstilt (teks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532D8E0F-CB35-477A-B655-5526D7ED3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8066"/>
            <a:ext cx="548397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ekst 15">
            <a:extLst>
              <a:ext uri="{FF2B5EF4-FFF2-40B4-BE49-F238E27FC236}">
                <a16:creationId xmlns:a16="http://schemas.microsoft.com/office/drawing/2014/main" id="{DE58A4D7-3AA9-44A8-92E7-9F0BE473A8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2629" y="1188066"/>
            <a:ext cx="548397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44670404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lan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905366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 høy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6096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6096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42494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5482711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EF2A794-C7D9-437F-B2AC-473580689D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103374" cy="6851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310B09E-A251-4C99-9CBA-A3588ECD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124435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 venst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6103374" y="6282434"/>
            <a:ext cx="6096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6275" y="637162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3374" y="177766"/>
            <a:ext cx="6096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l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352813" y="644393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6276" y="1188031"/>
            <a:ext cx="5482711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EF2A794-C7D9-437F-B2AC-473580689D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7374" y="0"/>
            <a:ext cx="6103374" cy="6851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r>
              <a:rPr lang="nb-NO"/>
              <a:t>Klikk på ikonet for å legge til et bilde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310B09E-A251-4C99-9CBA-A3588ECD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5400000" flipH="1">
            <a:off x="11823922" y="34793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830029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(blan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85665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dtsti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826A5436-2233-4B53-AB98-A3D37043E727}"/>
              </a:ext>
            </a:extLst>
          </p:cNvPr>
          <p:cNvCxnSpPr>
            <a:cxnSpLocks/>
          </p:cNvCxnSpPr>
          <p:nvPr userDrawn="1"/>
        </p:nvCxnSpPr>
        <p:spPr>
          <a:xfrm>
            <a:off x="-7374" y="6274768"/>
            <a:ext cx="12192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ktangel 1">
            <a:extLst>
              <a:ext uri="{FF2B5EF4-FFF2-40B4-BE49-F238E27FC236}">
                <a16:creationId xmlns:a16="http://schemas.microsoft.com/office/drawing/2014/main" id="{312E98F3-AF3C-47EA-BD32-7516457E6C38}"/>
              </a:ext>
            </a:extLst>
          </p:cNvPr>
          <p:cNvSpPr/>
          <p:nvPr userDrawn="1"/>
        </p:nvSpPr>
        <p:spPr>
          <a:xfrm>
            <a:off x="5826000" y="7130"/>
            <a:ext cx="540000" cy="43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8351496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76249D-78FB-4F8F-B1BC-562059E143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46" y="-1"/>
            <a:ext cx="12186753" cy="7606325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482600" y="4467225"/>
            <a:ext cx="11199813" cy="836613"/>
          </a:xfr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>
              <a:defRPr lang="en-US" sz="24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82600" y="5303838"/>
            <a:ext cx="11199813" cy="914400"/>
          </a:xfr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>
              <a:defRPr lang="en-US" sz="24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314660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3400" y="269441"/>
            <a:ext cx="3600000" cy="79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E96D0C4E-BF21-4915-940B-84C9803AC6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361" y="3429000"/>
            <a:ext cx="5742039" cy="3229897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A064C0FE-63B3-49E2-8805-D28644953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7641" y="2621809"/>
            <a:ext cx="8855792" cy="1032388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Undertittel 2">
            <a:extLst>
              <a:ext uri="{FF2B5EF4-FFF2-40B4-BE49-F238E27FC236}">
                <a16:creationId xmlns:a16="http://schemas.microsoft.com/office/drawing/2014/main" id="{B463A5C9-0CF4-4A60-866B-BA2D12EAB7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641" y="4008772"/>
            <a:ext cx="8855792" cy="368096"/>
          </a:xfrm>
          <a:prstGeom prst="rect">
            <a:avLst/>
          </a:prstGeom>
        </p:spPr>
        <p:txBody>
          <a:bodyPr lIns="90000"/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56116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5DD0142-D23C-45EB-818B-C398FBC293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8">
            <a:extLst>
              <a:ext uri="{FF2B5EF4-FFF2-40B4-BE49-F238E27FC236}">
                <a16:creationId xmlns:a16="http://schemas.microsoft.com/office/drawing/2014/main" id="{691E37DC-F4CB-4F26-90CB-2C522D415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4089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lan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718467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ACA533AF-AED1-46CE-AA20-7EE6B9A6BB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47413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to kolonn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545321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  <p:sp>
        <p:nvSpPr>
          <p:cNvPr id="10" name="Plassholder for tekst 15">
            <a:extLst>
              <a:ext uri="{FF2B5EF4-FFF2-40B4-BE49-F238E27FC236}">
                <a16:creationId xmlns:a16="http://schemas.microsoft.com/office/drawing/2014/main" id="{E74E68AC-190E-40CA-826C-FF7198967E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95886" y="1187251"/>
            <a:ext cx="545321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574726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545321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7852A11-B771-4D10-B43E-F7934D506B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AD1EB3F3-A793-4783-A15B-165A4A965E3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95886" y="1187251"/>
            <a:ext cx="5453063" cy="47625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4408B9B-2E34-4E50-80FA-B56234673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3922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 høy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6096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5482711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EF2A794-C7D9-437F-B2AC-473580689D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-8709"/>
            <a:ext cx="6096000" cy="64269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310B09E-A251-4C99-9CBA-A3588ECD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1038299A-EFF4-4C10-AD57-B1FC3D4E7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09668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 venst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3374" y="177766"/>
            <a:ext cx="6096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l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6276" y="1188031"/>
            <a:ext cx="5482711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EF2A794-C7D9-437F-B2AC-473580689D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8708"/>
            <a:ext cx="6096000" cy="64269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310B09E-A251-4C99-9CBA-A3588ECD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 rot="5400000" flipH="1">
            <a:off x="11823922" y="347935"/>
            <a:ext cx="538247" cy="197909"/>
          </a:xfrm>
          <a:prstGeom prst="rect">
            <a:avLst/>
          </a:prstGeo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7A027747-FE8D-46E2-8911-A1C1337F8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47594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(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532D8E0F-CB35-477A-B655-5526D7ED3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841EB6A-01C9-4BD6-8AC0-A1E4C7383A8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37334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(blan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7561C838-BAAC-4737-9A40-C0792FC48D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81707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t tema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8600" y="6113208"/>
            <a:ext cx="2695828" cy="59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0C41BC7B-5236-4283-A10D-E81037544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127" y="1928351"/>
            <a:ext cx="10411746" cy="3001297"/>
          </a:xfrm>
          <a:prstGeom prst="rect">
            <a:avLst/>
          </a:prstGeom>
        </p:spPr>
        <p:txBody>
          <a:bodyPr anchor="ctr"/>
          <a:lstStyle>
            <a:lvl1pPr algn="ctr">
              <a:defRPr sz="2800" b="1" cap="all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2" name="Bilde 11" descr="Et bilde som inneholder objekt&#10;&#10;Beskrivelse som er generert med høy visshet">
            <a:extLst>
              <a:ext uri="{FF2B5EF4-FFF2-40B4-BE49-F238E27FC236}">
                <a16:creationId xmlns:a16="http://schemas.microsoft.com/office/drawing/2014/main" id="{39678937-8A43-41E6-86BC-E0875F8850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30" y="0"/>
            <a:ext cx="7682270" cy="432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338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t tema (lyse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8600" y="6113208"/>
            <a:ext cx="2695828" cy="59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0C41BC7B-5236-4283-A10D-E81037544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127" y="1928351"/>
            <a:ext cx="10411746" cy="3001297"/>
          </a:xfrm>
          <a:prstGeom prst="rect">
            <a:avLst/>
          </a:prstGeom>
        </p:spPr>
        <p:txBody>
          <a:bodyPr anchor="ctr"/>
          <a:lstStyle>
            <a:lvl1pPr algn="ctr">
              <a:defRPr sz="2800" b="1" cap="all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2" name="Bilde 11" descr="Et bilde som inneholder objekt&#10;&#10;Beskrivelse som er generert med høy visshet">
            <a:extLst>
              <a:ext uri="{FF2B5EF4-FFF2-40B4-BE49-F238E27FC236}">
                <a16:creationId xmlns:a16="http://schemas.microsoft.com/office/drawing/2014/main" id="{39678937-8A43-41E6-86BC-E0875F8850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30" y="0"/>
            <a:ext cx="7682270" cy="432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7948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 (ly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05D26038-4F2F-4C27-8ABF-5C4BBBA679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63400" y="269441"/>
            <a:ext cx="3600000" cy="79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19D2CE2-1ABA-4758-B8EC-0CE50ED32C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7641" y="2621809"/>
            <a:ext cx="8855792" cy="1032388"/>
          </a:xfrm>
          <a:prstGeom prst="rect">
            <a:avLst/>
          </a:prstGeom>
        </p:spPr>
        <p:txBody>
          <a:bodyPr anchor="b"/>
          <a:lstStyle>
            <a:lvl1pPr algn="l">
              <a:defRPr sz="2800" b="1" cap="all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7DABAC85-355B-4110-8302-2588B2ACB6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7641" y="4008772"/>
            <a:ext cx="8855792" cy="368096"/>
          </a:xfrm>
          <a:prstGeom prst="rect">
            <a:avLst/>
          </a:prstGeom>
        </p:spPr>
        <p:txBody>
          <a:bodyPr lIns="90000"/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96D0C4E-BF21-4915-940B-84C9803AC6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361" y="3429000"/>
            <a:ext cx="5742039" cy="322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9528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 høy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6096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6096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42494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5482711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EF2A794-C7D9-437F-B2AC-473580689D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103374" cy="6851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310B09E-A251-4C99-9CBA-A3588ECD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16200000">
            <a:off x="-170169" y="34715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652316"/>
      </p:ext>
    </p:extLst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5AECAACA-8E67-4F7D-874B-0ED5776A42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15573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76249D-78FB-4F8F-B1BC-562059E143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46" y="-1"/>
            <a:ext cx="12186753" cy="7606325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482600" y="4467225"/>
            <a:ext cx="11199813" cy="836613"/>
          </a:xfr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>
              <a:defRPr lang="en-US" sz="24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82600" y="5303838"/>
            <a:ext cx="11199813" cy="914400"/>
          </a:xfr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>
              <a:defRPr lang="en-US" sz="24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indent="0" algn="ctr"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8677143"/>
      </p:ext>
    </p:extLst>
  </p:cSld>
  <p:clrMapOvr>
    <a:masterClrMapping/>
  </p:clrMapOvr>
  <p:transition spd="slow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9667" y="1052513"/>
            <a:ext cx="5181600" cy="5029200"/>
          </a:xfrm>
        </p:spPr>
        <p:txBody>
          <a:bodyPr/>
          <a:lstStyle>
            <a:lvl1pPr>
              <a:defRPr sz="1800">
                <a:solidFill>
                  <a:srgbClr val="003333"/>
                </a:solidFill>
              </a:defRPr>
            </a:lvl1pPr>
            <a:lvl2pPr>
              <a:defRPr sz="1600">
                <a:solidFill>
                  <a:srgbClr val="003333"/>
                </a:solidFill>
              </a:defRPr>
            </a:lvl2pPr>
            <a:lvl3pPr>
              <a:defRPr sz="1200">
                <a:solidFill>
                  <a:srgbClr val="003333"/>
                </a:solidFill>
              </a:defRPr>
            </a:lvl3pPr>
            <a:lvl4pPr>
              <a:defRPr sz="1200">
                <a:solidFill>
                  <a:srgbClr val="003333"/>
                </a:solidFill>
              </a:defRPr>
            </a:lvl4pPr>
            <a:lvl5pPr>
              <a:defRPr sz="1000">
                <a:solidFill>
                  <a:srgbClr val="003333"/>
                </a:solidFill>
              </a:defRPr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4D799A6-B14F-48AF-8A0A-7612BC5FE1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2945328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rykk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DB4109-9666-4F28-AC4A-33271E11EC14}"/>
              </a:ext>
            </a:extLst>
          </p:cNvPr>
          <p:cNvGraphicFramePr/>
          <p:nvPr/>
        </p:nvGraphicFramePr>
        <p:xfrm>
          <a:off x="1592" y="1592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3" imgW="7300" imgH="7313" progId="TCLayout.ActiveDocument.1">
                  <p:embed/>
                </p:oleObj>
              </mc:Choice>
              <mc:Fallback>
                <p:oleObj name="think-cell Slide" r:id="rId3" imgW="7300" imgH="731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DB4109-9666-4F28-AC4A-33271E11E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4FA749-5F08-4D7B-A66E-294B755C0C0D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334964" y="980730"/>
            <a:ext cx="5616572" cy="489653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Aft>
                <a:spcPts val="600"/>
              </a:spcAft>
              <a:defRPr sz="1600"/>
            </a:lvl2pPr>
            <a:lvl3pPr>
              <a:spcBef>
                <a:spcPts val="300"/>
              </a:spcBef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Bef>
                <a:spcPts val="20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DA28C9-9A34-44C7-9E10-A029370EDE4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254753" y="980730"/>
            <a:ext cx="5602292" cy="489653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CE176379-7149-484B-BF74-05FA88034CE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431798" y="6483928"/>
            <a:ext cx="913164" cy="288036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 lvl="0"/>
            <a:fld id="{FF49696A-FB57-477A-943C-01DA19383B43}" type="slidenum"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FB77786-AC7B-4658-A2D4-E1584D31DE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4963" y="116631"/>
            <a:ext cx="11522070" cy="694258"/>
          </a:xfrm>
          <a:prstGeom prst="rect">
            <a:avLst/>
          </a:prstGeom>
          <a:noFill/>
          <a:ln>
            <a:noFill/>
          </a:ln>
        </p:spPr>
        <p:txBody>
          <a:bodyPr vert="horz" wrap="square" lIns="121916" tIns="60953" rIns="121916" bIns="60953" anchor="ctr" anchorCtr="0" compatLnSpc="1">
            <a:noAutofit/>
          </a:bodyPr>
          <a:lstStyle>
            <a:lvl1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lang="en-US" sz="2000" b="0" i="0" u="none" strike="noStrike" kern="0" cap="none" spc="0" baseline="0">
                <a:solidFill>
                  <a:srgbClr val="00205B"/>
                </a:solidFill>
                <a:uFillTx/>
                <a:latin typeface="Calibri" pitchFamily="34"/>
                <a:ea typeface="MS PGothic" pitchFamily="34"/>
                <a:cs typeface="ＭＳ Ｐゴシック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5282434"/>
      </p:ext>
    </p:extLst>
  </p:cSld>
  <p:clrMapOvr>
    <a:masterClrMapping/>
  </p:clrMapOvr>
  <p:transition spd="slow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Rett linje 4">
            <a:extLst>
              <a:ext uri="{FF2B5EF4-FFF2-40B4-BE49-F238E27FC236}">
                <a16:creationId xmlns:a16="http://schemas.microsoft.com/office/drawing/2014/main" id="{826A5436-2233-4B53-AB98-A3D37043E727}"/>
              </a:ext>
            </a:extLst>
          </p:cNvPr>
          <p:cNvCxnSpPr>
            <a:cxnSpLocks/>
          </p:cNvCxnSpPr>
          <p:nvPr userDrawn="1"/>
        </p:nvCxnSpPr>
        <p:spPr>
          <a:xfrm>
            <a:off x="-7374" y="6274768"/>
            <a:ext cx="12192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ktangel 1">
            <a:extLst>
              <a:ext uri="{FF2B5EF4-FFF2-40B4-BE49-F238E27FC236}">
                <a16:creationId xmlns:a16="http://schemas.microsoft.com/office/drawing/2014/main" id="{312E98F3-AF3C-47EA-BD32-7516457E6C38}"/>
              </a:ext>
            </a:extLst>
          </p:cNvPr>
          <p:cNvSpPr/>
          <p:nvPr userDrawn="1"/>
        </p:nvSpPr>
        <p:spPr>
          <a:xfrm>
            <a:off x="5826000" y="7130"/>
            <a:ext cx="540000" cy="43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45566415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72491"/>
            <a:ext cx="10515600" cy="42044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 POLITIETS NASJONALE BEREDSKAPSSENT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459114-390E-43A7-A842-EF5B54C5C41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9789833"/>
      </p:ext>
    </p:extLst>
  </p:cSld>
  <p:clrMapOvr>
    <a:masterClrMapping/>
  </p:clrMapOvr>
  <p:transition spd="slow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idtstilt (teks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532D8E0F-CB35-477A-B655-5526D7ED3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8066"/>
            <a:ext cx="548397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tekst 15">
            <a:extLst>
              <a:ext uri="{FF2B5EF4-FFF2-40B4-BE49-F238E27FC236}">
                <a16:creationId xmlns:a16="http://schemas.microsoft.com/office/drawing/2014/main" id="{DE58A4D7-3AA9-44A8-92E7-9F0BE473A8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2629" y="1188066"/>
            <a:ext cx="5483974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5866919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(bilde venstr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6103374" y="6282434"/>
            <a:ext cx="6096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6275" y="637162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3374" y="177766"/>
            <a:ext cx="6096000" cy="54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l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352813" y="644393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E3FB355C-936C-4F17-BA50-1F94E61BBC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6276" y="1188031"/>
            <a:ext cx="5482711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6EF2A794-C7D9-437F-B2AC-473580689D1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7374" y="0"/>
            <a:ext cx="6103374" cy="68516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310B09E-A251-4C99-9CBA-A3588ECD2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 rot="5400000" flipH="1">
            <a:off x="11823922" y="347935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084450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(teks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532D8E0F-CB35-477A-B655-5526D7ED3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indent="-360000">
              <a:spcAft>
                <a:spcPts val="600"/>
              </a:spcAft>
              <a:defRPr sz="2000">
                <a:latin typeface="+mn-lt"/>
                <a:cs typeface="Arial" panose="020B0604020202020204" pitchFamily="34" charset="0"/>
              </a:defRPr>
            </a:lvl1pPr>
            <a:lvl2pPr marL="685800" indent="-3600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latin typeface="+mn-lt"/>
                <a:cs typeface="Arial" panose="020B0604020202020204" pitchFamily="34" charset="0"/>
              </a:defRPr>
            </a:lvl2pPr>
            <a:lvl3pPr marL="1143000" indent="-360000">
              <a:spcAft>
                <a:spcPts val="600"/>
              </a:spcAft>
              <a:buFont typeface="Arial" panose="020B0604020202020204" pitchFamily="34" charset="0"/>
              <a:buChar char="›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360000">
              <a:spcAft>
                <a:spcPts val="600"/>
              </a:spcAft>
              <a:buFont typeface="Arial" panose="020B0604020202020204" pitchFamily="34" charset="0"/>
              <a:buChar char="−"/>
              <a:defRPr sz="1600">
                <a:latin typeface="+mn-lt"/>
                <a:cs typeface="Arial" panose="020B0604020202020204" pitchFamily="34" charset="0"/>
              </a:defRPr>
            </a:lvl4pPr>
            <a:lvl5pPr marL="2057400" indent="-360000">
              <a:spcAft>
                <a:spcPts val="600"/>
              </a:spcAft>
              <a:buFont typeface="Arial" panose="020B0604020202020204" pitchFamily="34" charset="0"/>
              <a:buChar char="o"/>
              <a:defRPr sz="16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16101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(blan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CB811726-B3A4-43F0-B5E1-E5C46DDB1453}"/>
              </a:ext>
            </a:extLst>
          </p:cNvPr>
          <p:cNvSpPr/>
          <p:nvPr userDrawn="1"/>
        </p:nvSpPr>
        <p:spPr>
          <a:xfrm>
            <a:off x="0" y="6281654"/>
            <a:ext cx="12192000" cy="569216"/>
          </a:xfrm>
          <a:prstGeom prst="rect">
            <a:avLst/>
          </a:prstGeom>
          <a:solidFill>
            <a:srgbClr val="1045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+mj-lt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28CDBC7-B1E2-43D6-98F3-D4667493C6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1" y="6370846"/>
            <a:ext cx="1765876" cy="39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8">
            <a:extLst>
              <a:ext uri="{FF2B5EF4-FFF2-40B4-BE49-F238E27FC236}">
                <a16:creationId xmlns:a16="http://schemas.microsoft.com/office/drawing/2014/main" id="{37BEC2DF-F2BB-4EB5-B0A7-5B939CEAC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00000"/>
          </a:xfrm>
          <a:prstGeom prst="rect">
            <a:avLst/>
          </a:prstGeom>
          <a:noFill/>
        </p:spPr>
        <p:txBody>
          <a:bodyPr lIns="360000" tIns="108000" rIns="360000" bIns="108000" anchor="ctr" anchorCtr="0"/>
          <a:lstStyle>
            <a:lvl1pPr algn="ctr">
              <a:defRPr sz="2200" b="0" u="none" baseline="0">
                <a:solidFill>
                  <a:schemeClr val="tx2"/>
                </a:solidFill>
                <a:uFill>
                  <a:solidFill>
                    <a:schemeClr val="accent2"/>
                  </a:solidFill>
                </a:u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A23E94-637D-4188-BF52-C9D6B301F227}"/>
              </a:ext>
            </a:extLst>
          </p:cNvPr>
          <p:cNvSpPr txBox="1"/>
          <p:nvPr userDrawn="1"/>
        </p:nvSpPr>
        <p:spPr>
          <a:xfrm>
            <a:off x="10193039" y="6443151"/>
            <a:ext cx="16560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6D856E18-1478-4D41-B59B-54BB30DF6E12}" type="slidenum">
              <a:rPr lang="nb-NO" sz="1000" smtClean="0">
                <a:solidFill>
                  <a:schemeClr val="accent4"/>
                </a:solidFill>
                <a:latin typeface="+mj-lt"/>
                <a:cs typeface="Arial" panose="020B0604020202020204" pitchFamily="34" charset="0"/>
              </a:rPr>
              <a:t>‹#›</a:t>
            </a:fld>
            <a:endParaRPr lang="nb-NO" sz="1000" dirty="0">
              <a:solidFill>
                <a:schemeClr val="accent4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E57D4DF0-774E-4159-B93D-CFD4EEC556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63110" r="-327"/>
          <a:stretch/>
        </p:blipFill>
        <p:spPr>
          <a:xfrm>
            <a:off x="5826876" y="0"/>
            <a:ext cx="538247" cy="1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49532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t tema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8600" y="6113208"/>
            <a:ext cx="2695828" cy="59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0C41BC7B-5236-4283-A10D-E81037544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127" y="1928351"/>
            <a:ext cx="10411746" cy="3001297"/>
          </a:xfrm>
          <a:prstGeom prst="rect">
            <a:avLst/>
          </a:prstGeom>
        </p:spPr>
        <p:txBody>
          <a:bodyPr anchor="ctr"/>
          <a:lstStyle>
            <a:lvl1pPr algn="ctr">
              <a:defRPr sz="2800" b="1" cap="all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12" name="Bilde 11" descr="Et bilde som inneholder objekt&#10;&#10;Beskrivelse som er generert med høy visshet">
            <a:extLst>
              <a:ext uri="{FF2B5EF4-FFF2-40B4-BE49-F238E27FC236}">
                <a16:creationId xmlns:a16="http://schemas.microsoft.com/office/drawing/2014/main" id="{39678937-8A43-41E6-86BC-E0875F8850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30" y="0"/>
            <a:ext cx="7682270" cy="432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920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t tema (lyseblå)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4CF829F5-FF3C-4489-9C79-1C8F21E593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8600" y="6113208"/>
            <a:ext cx="2695828" cy="59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0C41BC7B-5236-4283-A10D-E810375448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127" y="1928351"/>
            <a:ext cx="10411746" cy="3001297"/>
          </a:xfrm>
          <a:prstGeom prst="rect">
            <a:avLst/>
          </a:prstGeom>
        </p:spPr>
        <p:txBody>
          <a:bodyPr anchor="ctr"/>
          <a:lstStyle>
            <a:lvl1pPr algn="ctr">
              <a:defRPr sz="2800" b="1" cap="all" baseline="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12" name="Bilde 11" descr="Et bilde som inneholder objekt&#10;&#10;Beskrivelse som er generert med høy visshet">
            <a:extLst>
              <a:ext uri="{FF2B5EF4-FFF2-40B4-BE49-F238E27FC236}">
                <a16:creationId xmlns:a16="http://schemas.microsoft.com/office/drawing/2014/main" id="{39678937-8A43-41E6-86BC-E0875F8850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730" y="0"/>
            <a:ext cx="7682270" cy="4321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508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image" Target="../media/image11.pn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1161452064,&quot;Placement&quot;:&quot;Footer&quot;}">
            <a:extLst>
              <a:ext uri="{FF2B5EF4-FFF2-40B4-BE49-F238E27FC236}">
                <a16:creationId xmlns:a16="http://schemas.microsoft.com/office/drawing/2014/main" id="{B5E52534-8E96-45E3-B17A-D0B139707A76}"/>
              </a:ext>
            </a:extLst>
          </p:cNvPr>
          <p:cNvSpPr txBox="1"/>
          <p:nvPr userDrawn="1"/>
        </p:nvSpPr>
        <p:spPr>
          <a:xfrm>
            <a:off x="0" y="6629836"/>
            <a:ext cx="1281205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800">
                <a:solidFill>
                  <a:srgbClr val="000000"/>
                </a:solidFill>
                <a:latin typeface="Calibri" panose="020F0502020204030204" pitchFamily="34" charset="0"/>
              </a:rPr>
              <a:t>Classified as Confidential</a:t>
            </a:r>
          </a:p>
        </p:txBody>
      </p:sp>
    </p:spTree>
    <p:extLst>
      <p:ext uri="{BB962C8B-B14F-4D97-AF65-F5344CB8AC3E}">
        <p14:creationId xmlns:p14="http://schemas.microsoft.com/office/powerpoint/2010/main" val="627171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1" r:id="rId2"/>
    <p:sldLayoutId id="2147483678" r:id="rId3"/>
    <p:sldLayoutId id="2147483672" r:id="rId4"/>
    <p:sldLayoutId id="2147483677" r:id="rId5"/>
    <p:sldLayoutId id="2147483675" r:id="rId6"/>
    <p:sldLayoutId id="2147483676" r:id="rId7"/>
    <p:sldLayoutId id="2147483679" r:id="rId8"/>
    <p:sldLayoutId id="2147483667" r:id="rId9"/>
    <p:sldLayoutId id="2147483670" r:id="rId10"/>
    <p:sldLayoutId id="2147483673" r:id="rId11"/>
    <p:sldLayoutId id="2147483681" r:id="rId12"/>
    <p:sldLayoutId id="2147483683" r:id="rId13"/>
    <p:sldLayoutId id="2147483685" r:id="rId14"/>
    <p:sldLayoutId id="2147483687" r:id="rId15"/>
    <p:sldLayoutId id="2147483720" r:id="rId16"/>
    <p:sldLayoutId id="2147483721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1161452064,&quot;Placement&quot;:&quot;Footer&quot;}">
            <a:extLst>
              <a:ext uri="{FF2B5EF4-FFF2-40B4-BE49-F238E27FC236}">
                <a16:creationId xmlns:a16="http://schemas.microsoft.com/office/drawing/2014/main" id="{01771E8B-CE96-4509-A338-DC25F4D5C866}"/>
              </a:ext>
            </a:extLst>
          </p:cNvPr>
          <p:cNvSpPr txBox="1"/>
          <p:nvPr userDrawn="1"/>
        </p:nvSpPr>
        <p:spPr>
          <a:xfrm>
            <a:off x="0" y="6629836"/>
            <a:ext cx="1281205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800">
                <a:solidFill>
                  <a:srgbClr val="000000"/>
                </a:solidFill>
                <a:latin typeface="Calibri" panose="020F0502020204030204" pitchFamily="34" charset="0"/>
              </a:rPr>
              <a:t>Classified a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374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8" r:id="rId9"/>
    <p:sldLayoutId id="2147483699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e 9">
            <a:extLst>
              <a:ext uri="{FF2B5EF4-FFF2-40B4-BE49-F238E27FC236}">
                <a16:creationId xmlns:a16="http://schemas.microsoft.com/office/drawing/2014/main" id="{6E464149-1DFE-4195-A8A9-D70F8A30E8E2}"/>
              </a:ext>
            </a:extLst>
          </p:cNvPr>
          <p:cNvGrpSpPr/>
          <p:nvPr userDrawn="1"/>
        </p:nvGrpSpPr>
        <p:grpSpPr>
          <a:xfrm>
            <a:off x="0" y="6428156"/>
            <a:ext cx="12192000" cy="430088"/>
            <a:chOff x="0" y="6428156"/>
            <a:chExt cx="12192000" cy="430088"/>
          </a:xfrm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F72CDD3E-3516-4E44-B150-4E27446E635F}"/>
                </a:ext>
              </a:extLst>
            </p:cNvPr>
            <p:cNvSpPr/>
            <p:nvPr userDrawn="1"/>
          </p:nvSpPr>
          <p:spPr>
            <a:xfrm>
              <a:off x="0" y="6428156"/>
              <a:ext cx="12192000" cy="430088"/>
            </a:xfrm>
            <a:prstGeom prst="rect">
              <a:avLst/>
            </a:prstGeom>
            <a:solidFill>
              <a:srgbClr val="1045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latin typeface="+mj-lt"/>
              </a:endParaRPr>
            </a:p>
          </p:txBody>
        </p:sp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446DA94D-8C41-42DE-B866-C3268326AAF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954" y="6486607"/>
              <a:ext cx="1414857" cy="313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C6D55AC5-6BE8-4577-8070-208CFD3E8A3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700481" y="6428156"/>
            <a:ext cx="1260565" cy="429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2"/>
                </a:solidFill>
              </a:defRPr>
            </a:lvl1pPr>
          </a:lstStyle>
          <a:p>
            <a:fld id="{659A2A26-E8AD-41E1-8236-B1AFCAD8CCF2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MSIPCMContentMarking" descr="{&quot;HashCode&quot;:1161452064,&quot;Placement&quot;:&quot;Footer&quot;}">
            <a:extLst>
              <a:ext uri="{FF2B5EF4-FFF2-40B4-BE49-F238E27FC236}">
                <a16:creationId xmlns:a16="http://schemas.microsoft.com/office/drawing/2014/main" id="{4ABE264A-FA2F-42B1-B838-5D9E72A39A2E}"/>
              </a:ext>
            </a:extLst>
          </p:cNvPr>
          <p:cNvSpPr txBox="1"/>
          <p:nvPr userDrawn="1"/>
        </p:nvSpPr>
        <p:spPr>
          <a:xfrm>
            <a:off x="0" y="6629836"/>
            <a:ext cx="1281205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800">
                <a:solidFill>
                  <a:srgbClr val="000000"/>
                </a:solidFill>
                <a:latin typeface="Calibri" panose="020F0502020204030204" pitchFamily="34" charset="0"/>
              </a:rPr>
              <a:t>Classified a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11678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60.png"/><Relationship Id="rId4" Type="http://schemas.openxmlformats.org/officeDocument/2006/relationships/slide" Target="slide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sv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image" Target="../media/image15.pn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5" Type="http://schemas.openxmlformats.org/officeDocument/2006/relationships/image" Target="../media/image37.png"/><Relationship Id="rId2" Type="http://schemas.openxmlformats.org/officeDocument/2006/relationships/image" Target="../media/image14.png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29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jpeg"/><Relationship Id="rId24" Type="http://schemas.openxmlformats.org/officeDocument/2006/relationships/image" Target="../media/image36.png"/><Relationship Id="rId32" Type="http://schemas.openxmlformats.org/officeDocument/2006/relationships/image" Target="../media/image44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31" Type="http://schemas.openxmlformats.org/officeDocument/2006/relationships/image" Target="../media/image43.png"/><Relationship Id="rId4" Type="http://schemas.openxmlformats.org/officeDocument/2006/relationships/image" Target="../media/image16.png"/><Relationship Id="rId9" Type="http://schemas.openxmlformats.org/officeDocument/2006/relationships/image" Target="../media/image21.jpeg"/><Relationship Id="rId14" Type="http://schemas.openxmlformats.org/officeDocument/2006/relationships/image" Target="../media/image26.png"/><Relationship Id="rId22" Type="http://schemas.openxmlformats.org/officeDocument/2006/relationships/image" Target="../media/image34.png"/><Relationship Id="rId27" Type="http://schemas.openxmlformats.org/officeDocument/2006/relationships/image" Target="../media/image39.png"/><Relationship Id="rId30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55DAED7-D9BC-4FF6-9983-2B09EA8931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nb-NO" dirty="0"/>
              <a:t>Samspill </a:t>
            </a:r>
            <a:r>
              <a:rPr lang="nb-NO"/>
              <a:t>som gjennomføringsmodell</a:t>
            </a:r>
            <a:endParaRPr lang="nb-NO" b="0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904D262-3BF5-4087-B5EE-68727D57E4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nb-NO" dirty="0"/>
              <a:t>22 april 2020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8369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445" y="260648"/>
            <a:ext cx="9144000" cy="6405563"/>
          </a:xfrm>
          <a:prstGeom prst="rect">
            <a:avLst/>
          </a:prstGeom>
        </p:spPr>
      </p:pic>
      <p:sp>
        <p:nvSpPr>
          <p:cNvPr id="5" name="Ellipse 4"/>
          <p:cNvSpPr/>
          <p:nvPr/>
        </p:nvSpPr>
        <p:spPr bwMode="auto">
          <a:xfrm>
            <a:off x="3407702" y="548681"/>
            <a:ext cx="4216085" cy="2078089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2000" b="1" dirty="0"/>
          </a:p>
        </p:txBody>
      </p:sp>
      <p:sp>
        <p:nvSpPr>
          <p:cNvPr id="6" name="TekstSylinder 5"/>
          <p:cNvSpPr txBox="1"/>
          <p:nvPr/>
        </p:nvSpPr>
        <p:spPr>
          <a:xfrm>
            <a:off x="3465273" y="1373994"/>
            <a:ext cx="44203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000" b="1" dirty="0"/>
              <a:t>Jeg er glad hullet ikke var i vår ende …</a:t>
            </a:r>
          </a:p>
          <a:p>
            <a:endParaRPr lang="nb-NO" sz="2000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Lysbildezoom 2">
                <a:extLst>
                  <a:ext uri="{FF2B5EF4-FFF2-40B4-BE49-F238E27FC236}">
                    <a16:creationId xmlns:a16="http://schemas.microsoft.com/office/drawing/2014/main" id="{A3F253C6-8802-4036-8AAF-033B253D6F0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2153900" y="3935730"/>
              <a:ext cx="3048000" cy="1714500"/>
            </p:xfrm>
            <a:graphic>
              <a:graphicData uri="http://schemas.microsoft.com/office/powerpoint/2016/slidezoom">
                <pslz:sldZm>
                  <pslz:sldZmObj sldId="1350" cId="2516275453">
                    <pslz:zmPr id="{31C90427-4F34-4F8C-A354-B07A6EB3608B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Lysbildezoom 2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A3F253C6-8802-4036-8AAF-033B253D6F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153900" y="3935730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20575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 bwMode="auto">
          <a:xfrm>
            <a:off x="5087889" y="836712"/>
            <a:ext cx="1440160" cy="1368152"/>
          </a:xfrm>
          <a:prstGeom prst="ellipse">
            <a:avLst/>
          </a:prstGeom>
          <a:noFill/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4" name="Ellipse 3"/>
          <p:cNvSpPr/>
          <p:nvPr/>
        </p:nvSpPr>
        <p:spPr bwMode="auto">
          <a:xfrm>
            <a:off x="2866027" y="2192339"/>
            <a:ext cx="1440160" cy="1368152"/>
          </a:xfrm>
          <a:prstGeom prst="ellipse">
            <a:avLst/>
          </a:prstGeom>
          <a:noFill/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5" name="Ellipse 4"/>
          <p:cNvSpPr/>
          <p:nvPr/>
        </p:nvSpPr>
        <p:spPr bwMode="auto">
          <a:xfrm>
            <a:off x="7392144" y="2264827"/>
            <a:ext cx="1440160" cy="1368152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7" name="Pil høyre 6"/>
          <p:cNvSpPr/>
          <p:nvPr/>
        </p:nvSpPr>
        <p:spPr bwMode="auto">
          <a:xfrm rot="12847343" flipH="1">
            <a:off x="4187203" y="3123481"/>
            <a:ext cx="575092" cy="412624"/>
          </a:xfrm>
          <a:prstGeom prst="rightArrow">
            <a:avLst>
              <a:gd name="adj1" fmla="val 50000"/>
              <a:gd name="adj2" fmla="val 47184"/>
            </a:avLst>
          </a:prstGeom>
          <a:solidFill>
            <a:srgbClr val="00B050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8" name="Pil høyre 7"/>
          <p:cNvSpPr/>
          <p:nvPr/>
        </p:nvSpPr>
        <p:spPr bwMode="auto">
          <a:xfrm rot="5400000">
            <a:off x="5530798" y="2296011"/>
            <a:ext cx="554343" cy="412624"/>
          </a:xfrm>
          <a:prstGeom prst="rightArrow">
            <a:avLst>
              <a:gd name="adj1" fmla="val 50000"/>
              <a:gd name="adj2" fmla="val 47184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9" name="Pil høyre 8"/>
          <p:cNvSpPr/>
          <p:nvPr/>
        </p:nvSpPr>
        <p:spPr bwMode="auto">
          <a:xfrm rot="9568296">
            <a:off x="6762466" y="3025135"/>
            <a:ext cx="687559" cy="412624"/>
          </a:xfrm>
          <a:prstGeom prst="rightArrow">
            <a:avLst>
              <a:gd name="adj1" fmla="val 50000"/>
              <a:gd name="adj2" fmla="val 4718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10" name="TekstSylinder 9"/>
          <p:cNvSpPr txBox="1"/>
          <p:nvPr/>
        </p:nvSpPr>
        <p:spPr>
          <a:xfrm>
            <a:off x="5343707" y="1320792"/>
            <a:ext cx="9285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Byggherre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7575859" y="2795014"/>
            <a:ext cx="10727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Entreprenør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3122913" y="2689919"/>
            <a:ext cx="8225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Rådgiver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6014282" y="5759660"/>
            <a:ext cx="1231000" cy="30777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Leverandør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7267546" y="4060836"/>
            <a:ext cx="1882509" cy="307777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Underentreprenør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6829299" y="5026268"/>
            <a:ext cx="1819290" cy="307777"/>
          </a:xfrm>
          <a:prstGeom prst="rect">
            <a:avLst/>
          </a:prstGeom>
          <a:noFill/>
          <a:ln w="28575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Underentreprenør</a:t>
            </a:r>
          </a:p>
        </p:txBody>
      </p:sp>
      <p:sp>
        <p:nvSpPr>
          <p:cNvPr id="16" name="TekstSylinder 15"/>
          <p:cNvSpPr txBox="1"/>
          <p:nvPr/>
        </p:nvSpPr>
        <p:spPr>
          <a:xfrm>
            <a:off x="3452342" y="5004961"/>
            <a:ext cx="971567" cy="307777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Arkitekt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2791645" y="4109241"/>
            <a:ext cx="1088199" cy="307777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Konsulent</a:t>
            </a:r>
          </a:p>
        </p:txBody>
      </p:sp>
      <p:sp>
        <p:nvSpPr>
          <p:cNvPr id="18" name="TekstSylinder 17"/>
          <p:cNvSpPr txBox="1"/>
          <p:nvPr/>
        </p:nvSpPr>
        <p:spPr>
          <a:xfrm>
            <a:off x="4272607" y="5728516"/>
            <a:ext cx="971568" cy="307777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Rådgiver</a:t>
            </a:r>
          </a:p>
        </p:txBody>
      </p:sp>
      <p:cxnSp>
        <p:nvCxnSpPr>
          <p:cNvPr id="21" name="Rett pilkobling 20"/>
          <p:cNvCxnSpPr/>
          <p:nvPr/>
        </p:nvCxnSpPr>
        <p:spPr bwMode="auto">
          <a:xfrm flipV="1">
            <a:off x="3893454" y="3923062"/>
            <a:ext cx="756245" cy="34006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tt pilkobling 25"/>
          <p:cNvCxnSpPr/>
          <p:nvPr/>
        </p:nvCxnSpPr>
        <p:spPr bwMode="auto">
          <a:xfrm flipV="1">
            <a:off x="4423909" y="4344669"/>
            <a:ext cx="635685" cy="68668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Rett pilkobling 26"/>
          <p:cNvCxnSpPr/>
          <p:nvPr/>
        </p:nvCxnSpPr>
        <p:spPr bwMode="auto">
          <a:xfrm flipV="1">
            <a:off x="5014751" y="4646917"/>
            <a:ext cx="384915" cy="1080725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Rett pilkobling 30"/>
          <p:cNvCxnSpPr/>
          <p:nvPr/>
        </p:nvCxnSpPr>
        <p:spPr bwMode="auto">
          <a:xfrm flipH="1" flipV="1">
            <a:off x="6602617" y="3973067"/>
            <a:ext cx="642665" cy="275112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Rett pilkobling 31"/>
          <p:cNvCxnSpPr/>
          <p:nvPr/>
        </p:nvCxnSpPr>
        <p:spPr bwMode="auto">
          <a:xfrm flipH="1" flipV="1">
            <a:off x="6428082" y="4459603"/>
            <a:ext cx="496524" cy="56518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7030A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Rett pilkobling 32"/>
          <p:cNvCxnSpPr/>
          <p:nvPr/>
        </p:nvCxnSpPr>
        <p:spPr bwMode="auto">
          <a:xfrm flipH="1" flipV="1">
            <a:off x="6022907" y="4688012"/>
            <a:ext cx="340072" cy="106631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Ellipse 22"/>
          <p:cNvSpPr/>
          <p:nvPr/>
        </p:nvSpPr>
        <p:spPr bwMode="auto">
          <a:xfrm>
            <a:off x="4968890" y="2900744"/>
            <a:ext cx="1612775" cy="1640587"/>
          </a:xfrm>
          <a:prstGeom prst="ellipse">
            <a:avLst/>
          </a:prstGeom>
          <a:solidFill>
            <a:srgbClr val="92D05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34" name="TekstSylinder 33"/>
          <p:cNvSpPr txBox="1"/>
          <p:nvPr/>
        </p:nvSpPr>
        <p:spPr>
          <a:xfrm>
            <a:off x="5291784" y="3584296"/>
            <a:ext cx="9444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b="1" dirty="0">
                <a:solidFill>
                  <a:schemeClr val="bg1"/>
                </a:solidFill>
              </a:rPr>
              <a:t>Prosjektet</a:t>
            </a:r>
          </a:p>
        </p:txBody>
      </p:sp>
      <p:sp>
        <p:nvSpPr>
          <p:cNvPr id="28" name="TekstSylinder 27"/>
          <p:cNvSpPr txBox="1"/>
          <p:nvPr/>
        </p:nvSpPr>
        <p:spPr>
          <a:xfrm>
            <a:off x="403066" y="313492"/>
            <a:ext cx="35423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800" dirty="0">
                <a:solidFill>
                  <a:schemeClr val="accent1"/>
                </a:solidFill>
                <a:latin typeface="+mj-lt"/>
              </a:rPr>
              <a:t>Utfordring – felles mål!</a:t>
            </a:r>
          </a:p>
        </p:txBody>
      </p:sp>
    </p:spTree>
    <p:extLst>
      <p:ext uri="{BB962C8B-B14F-4D97-AF65-F5344CB8AC3E}">
        <p14:creationId xmlns:p14="http://schemas.microsoft.com/office/powerpoint/2010/main" val="2516275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152651" y="1975332"/>
            <a:ext cx="4751499" cy="2542739"/>
          </a:xfrm>
        </p:spPr>
        <p:txBody>
          <a:bodyPr>
            <a:normAutofit fontScale="90000"/>
          </a:bodyPr>
          <a:lstStyle/>
          <a:p>
            <a:r>
              <a:rPr lang="nb-NO" i="1" dirty="0">
                <a:solidFill>
                  <a:schemeClr val="accent5">
                    <a:lumMod val="50000"/>
                  </a:schemeClr>
                </a:solidFill>
              </a:rPr>
              <a:t>”Galskap er å gjøre det samme om og om igjen, å forvente et annet resultat”</a:t>
            </a:r>
            <a:br>
              <a:rPr lang="nb-NO" dirty="0"/>
            </a:br>
            <a:r>
              <a:rPr lang="nb-NO" sz="1800" dirty="0"/>
              <a:t>Albert Einstein</a:t>
            </a:r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66850" y="1975331"/>
            <a:ext cx="2370837" cy="326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017857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23DFA773-2F6B-4527-9952-486E257D14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700481" y="6428156"/>
            <a:ext cx="1260565" cy="429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r" defTabSz="914400" rtl="0" eaLnBrk="1" latinLnBrk="0" hangingPunct="1"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9A2A26-E8AD-41E1-8236-B1AFCAD8CCF2}" type="slidenum">
              <a:rPr kumimoji="0" lang="nb-NO" sz="1100" b="0" i="0" u="none" strike="noStrike" kern="1200" cap="none" spc="0" normalizeH="0" baseline="0" noProof="0" smtClean="0">
                <a:ln>
                  <a:noFill/>
                </a:ln>
                <a:solidFill>
                  <a:srgbClr val="ADCED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ADCED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389B1177-C03A-47E2-85FB-5A56A77C364B}"/>
              </a:ext>
            </a:extLst>
          </p:cNvPr>
          <p:cNvSpPr txBox="1">
            <a:spLocks/>
          </p:cNvSpPr>
          <p:nvPr/>
        </p:nvSpPr>
        <p:spPr>
          <a:xfrm>
            <a:off x="790113" y="146668"/>
            <a:ext cx="11401887" cy="540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Gjennomføringsmodeller </a:t>
            </a:r>
          </a:p>
        </p:txBody>
      </p:sp>
      <p:sp>
        <p:nvSpPr>
          <p:cNvPr id="25" name="Ellipse 92">
            <a:extLst>
              <a:ext uri="{FF2B5EF4-FFF2-40B4-BE49-F238E27FC236}">
                <a16:creationId xmlns:a16="http://schemas.microsoft.com/office/drawing/2014/main" id="{49A4B8DA-8A79-4CEA-8309-8D318CA41449}"/>
              </a:ext>
            </a:extLst>
          </p:cNvPr>
          <p:cNvSpPr/>
          <p:nvPr/>
        </p:nvSpPr>
        <p:spPr>
          <a:xfrm>
            <a:off x="9732371" y="2670434"/>
            <a:ext cx="426151" cy="39369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kstSylinder 93">
            <a:extLst>
              <a:ext uri="{FF2B5EF4-FFF2-40B4-BE49-F238E27FC236}">
                <a16:creationId xmlns:a16="http://schemas.microsoft.com/office/drawing/2014/main" id="{1B163F0A-86BE-4515-BF95-E8945AB5F57B}"/>
              </a:ext>
            </a:extLst>
          </p:cNvPr>
          <p:cNvSpPr txBox="1"/>
          <p:nvPr/>
        </p:nvSpPr>
        <p:spPr>
          <a:xfrm>
            <a:off x="9774835" y="2778156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E</a:t>
            </a:r>
          </a:p>
        </p:txBody>
      </p:sp>
      <p:grpSp>
        <p:nvGrpSpPr>
          <p:cNvPr id="27" name="Group 11">
            <a:extLst>
              <a:ext uri="{FF2B5EF4-FFF2-40B4-BE49-F238E27FC236}">
                <a16:creationId xmlns:a16="http://schemas.microsoft.com/office/drawing/2014/main" id="{6BDAA464-E4D0-4BF9-9C05-E007219AA8CB}"/>
              </a:ext>
            </a:extLst>
          </p:cNvPr>
          <p:cNvGrpSpPr/>
          <p:nvPr/>
        </p:nvGrpSpPr>
        <p:grpSpPr>
          <a:xfrm>
            <a:off x="740960" y="1061088"/>
            <a:ext cx="10710079" cy="5167331"/>
            <a:chOff x="745571" y="967782"/>
            <a:chExt cx="10710079" cy="5167331"/>
          </a:xfrm>
        </p:grpSpPr>
        <p:sp>
          <p:nvSpPr>
            <p:cNvPr id="28" name="Rektangel 101">
              <a:extLst>
                <a:ext uri="{FF2B5EF4-FFF2-40B4-BE49-F238E27FC236}">
                  <a16:creationId xmlns:a16="http://schemas.microsoft.com/office/drawing/2014/main" id="{F62EB404-45E2-4008-94DF-D3B5AD3AF8CE}"/>
                </a:ext>
              </a:extLst>
            </p:cNvPr>
            <p:cNvSpPr/>
            <p:nvPr/>
          </p:nvSpPr>
          <p:spPr>
            <a:xfrm>
              <a:off x="8016935" y="967782"/>
              <a:ext cx="3438715" cy="51578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Rektangel 100">
              <a:extLst>
                <a:ext uri="{FF2B5EF4-FFF2-40B4-BE49-F238E27FC236}">
                  <a16:creationId xmlns:a16="http://schemas.microsoft.com/office/drawing/2014/main" id="{F83C3E74-04DA-4E36-9AD5-02C5246BE6BE}"/>
                </a:ext>
              </a:extLst>
            </p:cNvPr>
            <p:cNvSpPr/>
            <p:nvPr/>
          </p:nvSpPr>
          <p:spPr>
            <a:xfrm>
              <a:off x="4376642" y="977256"/>
              <a:ext cx="3438715" cy="51578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Rektangel 26">
              <a:extLst>
                <a:ext uri="{FF2B5EF4-FFF2-40B4-BE49-F238E27FC236}">
                  <a16:creationId xmlns:a16="http://schemas.microsoft.com/office/drawing/2014/main" id="{A8B9F158-977A-4FF0-BDEE-B34310B37EC5}"/>
                </a:ext>
              </a:extLst>
            </p:cNvPr>
            <p:cNvSpPr/>
            <p:nvPr/>
          </p:nvSpPr>
          <p:spPr>
            <a:xfrm>
              <a:off x="745571" y="977256"/>
              <a:ext cx="3438715" cy="51578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1" name="TekstSylinder 3">
            <a:extLst>
              <a:ext uri="{FF2B5EF4-FFF2-40B4-BE49-F238E27FC236}">
                <a16:creationId xmlns:a16="http://schemas.microsoft.com/office/drawing/2014/main" id="{573E99A9-C2D1-43F2-A803-2CF83B7C30F6}"/>
              </a:ext>
            </a:extLst>
          </p:cNvPr>
          <p:cNvSpPr txBox="1"/>
          <p:nvPr/>
        </p:nvSpPr>
        <p:spPr>
          <a:xfrm>
            <a:off x="941008" y="3903533"/>
            <a:ext cx="298581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jennetegnes ved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n har individuelle kontrakter med prosjekterende og med entreprenør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ene utfører arbeid iht. prosjektering levert av byggherr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n har ansvar for koordinering av fremdrift og grensesnittene mellom aktøre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kontrakten er ofte basert på en kodebeskrivelse og med oppgjør for mengder i samsvar med enhetspris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trakten beskriver aktørenes ansvar og det avtales sanksjoner knyttet til svikt ved leveransene</a:t>
            </a:r>
          </a:p>
        </p:txBody>
      </p:sp>
      <p:sp>
        <p:nvSpPr>
          <p:cNvPr id="32" name="TekstSylinder 4">
            <a:extLst>
              <a:ext uri="{FF2B5EF4-FFF2-40B4-BE49-F238E27FC236}">
                <a16:creationId xmlns:a16="http://schemas.microsoft.com/office/drawing/2014/main" id="{03ADBA5B-0A43-49AE-8E90-0C658CB235B9}"/>
              </a:ext>
            </a:extLst>
          </p:cNvPr>
          <p:cNvSpPr txBox="1"/>
          <p:nvPr/>
        </p:nvSpPr>
        <p:spPr>
          <a:xfrm>
            <a:off x="4602558" y="3878416"/>
            <a:ext cx="290104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jennetegnes ved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n har kontrakt med en totalentreprenør som har ansvar for prosjektering og utførel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entreprenøren har ansvar for koordinering av fremdrift og grensesnittene mellom aktørene han har ansvar f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v til leveransen beskrives gjerne med funksjonskrav  og totalentreprenøren har frihetsgrad mht. hvordan oppgaven løses såfremt kravene oppfyl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derlaget kan fastsettes med varianter av prismodeller, men fast pris er mest vanli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trakten beskriver aktørenes ansvar og det avtales sanksjoner knyttet til svikt ved leveransene</a:t>
            </a:r>
          </a:p>
        </p:txBody>
      </p:sp>
      <p:sp>
        <p:nvSpPr>
          <p:cNvPr id="33" name="TekstSylinder 5">
            <a:extLst>
              <a:ext uri="{FF2B5EF4-FFF2-40B4-BE49-F238E27FC236}">
                <a16:creationId xmlns:a16="http://schemas.microsoft.com/office/drawing/2014/main" id="{77276B9C-6AE2-46AB-A850-63384B36C507}"/>
              </a:ext>
            </a:extLst>
          </p:cNvPr>
          <p:cNvSpPr txBox="1"/>
          <p:nvPr/>
        </p:nvSpPr>
        <p:spPr>
          <a:xfrm>
            <a:off x="8243340" y="3272709"/>
            <a:ext cx="308883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jennetegnes ved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trakten deles i 2 faser – prosjektutviklingsfase (fase 1) og utførelsesfase (fase 2). Prosjektutvikling basert på byggherrens må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tførelsesfasen baseres på løsning utarbeidet i fase 1 og avtalt målpris for fase 2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mmersiell modell hvor partene har felles eierskap til måloppnåelse – deling av gevinst/ta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grert organisasjon bestående av personer fra deltakende aktører i begge fas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lokalisering, digitale verktøy, integrerte prosesser i begge fas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ultur bestående av åpenhet, tillit og god kommunikasj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n gjennomføres som toparts avtale eller flerparts avtale</a:t>
            </a:r>
          </a:p>
        </p:txBody>
      </p:sp>
      <p:sp>
        <p:nvSpPr>
          <p:cNvPr id="34" name="Ellipse 9">
            <a:extLst>
              <a:ext uri="{FF2B5EF4-FFF2-40B4-BE49-F238E27FC236}">
                <a16:creationId xmlns:a16="http://schemas.microsoft.com/office/drawing/2014/main" id="{8BEFA021-4E88-4818-A7E5-042F70A4F5B0}"/>
              </a:ext>
            </a:extLst>
          </p:cNvPr>
          <p:cNvSpPr/>
          <p:nvPr/>
        </p:nvSpPr>
        <p:spPr>
          <a:xfrm>
            <a:off x="2056198" y="1626027"/>
            <a:ext cx="674557" cy="634391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Ellipse 10">
            <a:extLst>
              <a:ext uri="{FF2B5EF4-FFF2-40B4-BE49-F238E27FC236}">
                <a16:creationId xmlns:a16="http://schemas.microsoft.com/office/drawing/2014/main" id="{B9E14468-2D76-4F10-9D4C-039E0B6C9DAD}"/>
              </a:ext>
            </a:extLst>
          </p:cNvPr>
          <p:cNvSpPr/>
          <p:nvPr/>
        </p:nvSpPr>
        <p:spPr>
          <a:xfrm>
            <a:off x="1717238" y="3075170"/>
            <a:ext cx="674557" cy="634391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Ellipse 11">
            <a:extLst>
              <a:ext uri="{FF2B5EF4-FFF2-40B4-BE49-F238E27FC236}">
                <a16:creationId xmlns:a16="http://schemas.microsoft.com/office/drawing/2014/main" id="{72A9A13E-EAD5-4E10-AD11-50ED9B7A21EF}"/>
              </a:ext>
            </a:extLst>
          </p:cNvPr>
          <p:cNvSpPr/>
          <p:nvPr/>
        </p:nvSpPr>
        <p:spPr>
          <a:xfrm>
            <a:off x="1329578" y="2260418"/>
            <a:ext cx="674557" cy="634391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Ellipse 12">
            <a:extLst>
              <a:ext uri="{FF2B5EF4-FFF2-40B4-BE49-F238E27FC236}">
                <a16:creationId xmlns:a16="http://schemas.microsoft.com/office/drawing/2014/main" id="{22CA4141-CC84-42B0-A70C-67CB7C6E71C3}"/>
              </a:ext>
            </a:extLst>
          </p:cNvPr>
          <p:cNvSpPr/>
          <p:nvPr/>
        </p:nvSpPr>
        <p:spPr>
          <a:xfrm>
            <a:off x="2433917" y="3075171"/>
            <a:ext cx="674557" cy="634391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Ellipse 13">
            <a:extLst>
              <a:ext uri="{FF2B5EF4-FFF2-40B4-BE49-F238E27FC236}">
                <a16:creationId xmlns:a16="http://schemas.microsoft.com/office/drawing/2014/main" id="{201726F0-3224-46DA-A387-3577AA0976B3}"/>
              </a:ext>
            </a:extLst>
          </p:cNvPr>
          <p:cNvSpPr/>
          <p:nvPr/>
        </p:nvSpPr>
        <p:spPr>
          <a:xfrm>
            <a:off x="2791217" y="2260417"/>
            <a:ext cx="674557" cy="634391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9" name="Rett linje 15">
            <a:extLst>
              <a:ext uri="{FF2B5EF4-FFF2-40B4-BE49-F238E27FC236}">
                <a16:creationId xmlns:a16="http://schemas.microsoft.com/office/drawing/2014/main" id="{9FADCF87-40D8-4C22-9DAF-D465E96760C7}"/>
              </a:ext>
            </a:extLst>
          </p:cNvPr>
          <p:cNvCxnSpPr>
            <a:cxnSpLocks/>
            <a:stCxn id="34" idx="3"/>
            <a:endCxn id="36" idx="7"/>
          </p:cNvCxnSpPr>
          <p:nvPr/>
        </p:nvCxnSpPr>
        <p:spPr>
          <a:xfrm flipH="1">
            <a:off x="1905348" y="2167514"/>
            <a:ext cx="249637" cy="18580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ett linje 17">
            <a:extLst>
              <a:ext uri="{FF2B5EF4-FFF2-40B4-BE49-F238E27FC236}">
                <a16:creationId xmlns:a16="http://schemas.microsoft.com/office/drawing/2014/main" id="{E8670660-ECF9-4C30-9441-3F5F008E1224}"/>
              </a:ext>
            </a:extLst>
          </p:cNvPr>
          <p:cNvCxnSpPr>
            <a:cxnSpLocks/>
            <a:stCxn id="34" idx="4"/>
            <a:endCxn id="35" idx="0"/>
          </p:cNvCxnSpPr>
          <p:nvPr/>
        </p:nvCxnSpPr>
        <p:spPr>
          <a:xfrm flipH="1">
            <a:off x="2054517" y="2260418"/>
            <a:ext cx="338960" cy="81475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ett linje 18">
            <a:extLst>
              <a:ext uri="{FF2B5EF4-FFF2-40B4-BE49-F238E27FC236}">
                <a16:creationId xmlns:a16="http://schemas.microsoft.com/office/drawing/2014/main" id="{398C966D-CFEC-4B73-BECE-EA878FCCFFC2}"/>
              </a:ext>
            </a:extLst>
          </p:cNvPr>
          <p:cNvCxnSpPr>
            <a:cxnSpLocks/>
            <a:stCxn id="34" idx="4"/>
            <a:endCxn id="37" idx="0"/>
          </p:cNvCxnSpPr>
          <p:nvPr/>
        </p:nvCxnSpPr>
        <p:spPr>
          <a:xfrm>
            <a:off x="2393477" y="2260418"/>
            <a:ext cx="377719" cy="81475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Rett linje 19">
            <a:extLst>
              <a:ext uri="{FF2B5EF4-FFF2-40B4-BE49-F238E27FC236}">
                <a16:creationId xmlns:a16="http://schemas.microsoft.com/office/drawing/2014/main" id="{CF7AA0D3-02A3-43F2-BDB4-1016D3425750}"/>
              </a:ext>
            </a:extLst>
          </p:cNvPr>
          <p:cNvCxnSpPr>
            <a:cxnSpLocks/>
            <a:stCxn id="34" idx="5"/>
            <a:endCxn id="38" idx="1"/>
          </p:cNvCxnSpPr>
          <p:nvPr/>
        </p:nvCxnSpPr>
        <p:spPr>
          <a:xfrm>
            <a:off x="2631968" y="2167514"/>
            <a:ext cx="258036" cy="18580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kstSylinder 33">
            <a:extLst>
              <a:ext uri="{FF2B5EF4-FFF2-40B4-BE49-F238E27FC236}">
                <a16:creationId xmlns:a16="http://schemas.microsoft.com/office/drawing/2014/main" id="{819363DC-8BC9-44CB-B3CE-52C0A519E26C}"/>
              </a:ext>
            </a:extLst>
          </p:cNvPr>
          <p:cNvSpPr txBox="1"/>
          <p:nvPr/>
        </p:nvSpPr>
        <p:spPr>
          <a:xfrm>
            <a:off x="2034622" y="1821221"/>
            <a:ext cx="6992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</a:t>
            </a:r>
          </a:p>
        </p:txBody>
      </p:sp>
      <p:sp>
        <p:nvSpPr>
          <p:cNvPr id="44" name="TekstSylinder 34">
            <a:extLst>
              <a:ext uri="{FF2B5EF4-FFF2-40B4-BE49-F238E27FC236}">
                <a16:creationId xmlns:a16="http://schemas.microsoft.com/office/drawing/2014/main" id="{AF683261-70BA-49F7-9EE1-0B85D8495A4D}"/>
              </a:ext>
            </a:extLst>
          </p:cNvPr>
          <p:cNvSpPr txBox="1"/>
          <p:nvPr/>
        </p:nvSpPr>
        <p:spPr>
          <a:xfrm>
            <a:off x="1339918" y="2484171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ADCED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ådgiver</a:t>
            </a:r>
          </a:p>
        </p:txBody>
      </p:sp>
      <p:sp>
        <p:nvSpPr>
          <p:cNvPr id="45" name="TekstSylinder 35">
            <a:extLst>
              <a:ext uri="{FF2B5EF4-FFF2-40B4-BE49-F238E27FC236}">
                <a16:creationId xmlns:a16="http://schemas.microsoft.com/office/drawing/2014/main" id="{B76AC99A-9DB7-4C80-B3E5-79AC07BF2CB1}"/>
              </a:ext>
            </a:extLst>
          </p:cNvPr>
          <p:cNvSpPr txBox="1"/>
          <p:nvPr/>
        </p:nvSpPr>
        <p:spPr>
          <a:xfrm>
            <a:off x="2743743" y="2469352"/>
            <a:ext cx="7729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</a:t>
            </a:r>
          </a:p>
        </p:txBody>
      </p:sp>
      <p:sp>
        <p:nvSpPr>
          <p:cNvPr id="46" name="TekstSylinder 36">
            <a:extLst>
              <a:ext uri="{FF2B5EF4-FFF2-40B4-BE49-F238E27FC236}">
                <a16:creationId xmlns:a16="http://schemas.microsoft.com/office/drawing/2014/main" id="{D296E41E-9F31-43D6-9A9F-C832F60AC14A}"/>
              </a:ext>
            </a:extLst>
          </p:cNvPr>
          <p:cNvSpPr txBox="1"/>
          <p:nvPr/>
        </p:nvSpPr>
        <p:spPr>
          <a:xfrm>
            <a:off x="2393650" y="3301961"/>
            <a:ext cx="7729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</a:t>
            </a:r>
          </a:p>
        </p:txBody>
      </p:sp>
      <p:sp>
        <p:nvSpPr>
          <p:cNvPr id="47" name="TekstSylinder 37">
            <a:extLst>
              <a:ext uri="{FF2B5EF4-FFF2-40B4-BE49-F238E27FC236}">
                <a16:creationId xmlns:a16="http://schemas.microsoft.com/office/drawing/2014/main" id="{C3028AE1-658D-41A0-B9CA-182E28CFB094}"/>
              </a:ext>
            </a:extLst>
          </p:cNvPr>
          <p:cNvSpPr txBox="1"/>
          <p:nvPr/>
        </p:nvSpPr>
        <p:spPr>
          <a:xfrm>
            <a:off x="1673705" y="3292957"/>
            <a:ext cx="7729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</a:t>
            </a:r>
          </a:p>
        </p:txBody>
      </p:sp>
      <p:sp>
        <p:nvSpPr>
          <p:cNvPr id="48" name="TekstSylinder 39">
            <a:extLst>
              <a:ext uri="{FF2B5EF4-FFF2-40B4-BE49-F238E27FC236}">
                <a16:creationId xmlns:a16="http://schemas.microsoft.com/office/drawing/2014/main" id="{47F50105-62C4-46BA-B73D-73036CA64D1F}"/>
              </a:ext>
            </a:extLst>
          </p:cNvPr>
          <p:cNvSpPr txBox="1"/>
          <p:nvPr/>
        </p:nvSpPr>
        <p:spPr>
          <a:xfrm>
            <a:off x="1167930" y="1182951"/>
            <a:ext cx="24609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STYRTE ENTREPRISER</a:t>
            </a:r>
          </a:p>
        </p:txBody>
      </p:sp>
      <p:sp>
        <p:nvSpPr>
          <p:cNvPr id="49" name="Ellipse 40">
            <a:extLst>
              <a:ext uri="{FF2B5EF4-FFF2-40B4-BE49-F238E27FC236}">
                <a16:creationId xmlns:a16="http://schemas.microsoft.com/office/drawing/2014/main" id="{0B6513DC-DDF2-4A0D-AD05-61363F437792}"/>
              </a:ext>
            </a:extLst>
          </p:cNvPr>
          <p:cNvSpPr/>
          <p:nvPr/>
        </p:nvSpPr>
        <p:spPr>
          <a:xfrm>
            <a:off x="5687851" y="1552368"/>
            <a:ext cx="674557" cy="634391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Ellipse 41">
            <a:extLst>
              <a:ext uri="{FF2B5EF4-FFF2-40B4-BE49-F238E27FC236}">
                <a16:creationId xmlns:a16="http://schemas.microsoft.com/office/drawing/2014/main" id="{95EE1F80-E582-4F71-9F07-DC2F8814FCB5}"/>
              </a:ext>
            </a:extLst>
          </p:cNvPr>
          <p:cNvSpPr/>
          <p:nvPr/>
        </p:nvSpPr>
        <p:spPr>
          <a:xfrm>
            <a:off x="5694928" y="2307057"/>
            <a:ext cx="674557" cy="634391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Ellipse 42">
            <a:extLst>
              <a:ext uri="{FF2B5EF4-FFF2-40B4-BE49-F238E27FC236}">
                <a16:creationId xmlns:a16="http://schemas.microsoft.com/office/drawing/2014/main" id="{6BCABB6B-D859-443D-8D77-4861429A1BCF}"/>
              </a:ext>
            </a:extLst>
          </p:cNvPr>
          <p:cNvSpPr/>
          <p:nvPr/>
        </p:nvSpPr>
        <p:spPr>
          <a:xfrm>
            <a:off x="5013294" y="2934908"/>
            <a:ext cx="674557" cy="634391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2" name="Rett linje 45">
            <a:extLst>
              <a:ext uri="{FF2B5EF4-FFF2-40B4-BE49-F238E27FC236}">
                <a16:creationId xmlns:a16="http://schemas.microsoft.com/office/drawing/2014/main" id="{79011B84-7487-41D5-989A-CCA25F1C24EF}"/>
              </a:ext>
            </a:extLst>
          </p:cNvPr>
          <p:cNvCxnSpPr>
            <a:cxnSpLocks/>
            <a:stCxn id="50" idx="3"/>
            <a:endCxn id="51" idx="7"/>
          </p:cNvCxnSpPr>
          <p:nvPr/>
        </p:nvCxnSpPr>
        <p:spPr>
          <a:xfrm flipH="1">
            <a:off x="5589064" y="2848544"/>
            <a:ext cx="204651" cy="17926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Rett linje 46">
            <a:extLst>
              <a:ext uri="{FF2B5EF4-FFF2-40B4-BE49-F238E27FC236}">
                <a16:creationId xmlns:a16="http://schemas.microsoft.com/office/drawing/2014/main" id="{30BCE056-6AB9-4B35-81DB-49DDBD1E5AF6}"/>
              </a:ext>
            </a:extLst>
          </p:cNvPr>
          <p:cNvCxnSpPr>
            <a:cxnSpLocks/>
            <a:stCxn id="49" idx="4"/>
            <a:endCxn id="50" idx="0"/>
          </p:cNvCxnSpPr>
          <p:nvPr/>
        </p:nvCxnSpPr>
        <p:spPr>
          <a:xfrm>
            <a:off x="6025130" y="2186759"/>
            <a:ext cx="7077" cy="12029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linje 48">
            <a:extLst>
              <a:ext uri="{FF2B5EF4-FFF2-40B4-BE49-F238E27FC236}">
                <a16:creationId xmlns:a16="http://schemas.microsoft.com/office/drawing/2014/main" id="{26B350D9-1026-4E71-A8A6-70D610192726}"/>
              </a:ext>
            </a:extLst>
          </p:cNvPr>
          <p:cNvCxnSpPr>
            <a:cxnSpLocks/>
            <a:stCxn id="50" idx="5"/>
            <a:endCxn id="62" idx="2"/>
          </p:cNvCxnSpPr>
          <p:nvPr/>
        </p:nvCxnSpPr>
        <p:spPr>
          <a:xfrm>
            <a:off x="6270698" y="2848544"/>
            <a:ext cx="313521" cy="2253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kstSylinder 49">
            <a:extLst>
              <a:ext uri="{FF2B5EF4-FFF2-40B4-BE49-F238E27FC236}">
                <a16:creationId xmlns:a16="http://schemas.microsoft.com/office/drawing/2014/main" id="{7A6072C4-F5C5-4923-B685-9D8AD337696C}"/>
              </a:ext>
            </a:extLst>
          </p:cNvPr>
          <p:cNvSpPr txBox="1"/>
          <p:nvPr/>
        </p:nvSpPr>
        <p:spPr>
          <a:xfrm>
            <a:off x="5666275" y="1747562"/>
            <a:ext cx="6992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</a:t>
            </a:r>
          </a:p>
        </p:txBody>
      </p:sp>
      <p:sp>
        <p:nvSpPr>
          <p:cNvPr id="56" name="TekstSylinder 50">
            <a:extLst>
              <a:ext uri="{FF2B5EF4-FFF2-40B4-BE49-F238E27FC236}">
                <a16:creationId xmlns:a16="http://schemas.microsoft.com/office/drawing/2014/main" id="{5A054321-FB1F-4FAE-BCB7-FB09B3CA9E07}"/>
              </a:ext>
            </a:extLst>
          </p:cNvPr>
          <p:cNvSpPr txBox="1"/>
          <p:nvPr/>
        </p:nvSpPr>
        <p:spPr>
          <a:xfrm>
            <a:off x="5023634" y="3158661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ADCED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ådgiver</a:t>
            </a:r>
          </a:p>
        </p:txBody>
      </p:sp>
      <p:sp>
        <p:nvSpPr>
          <p:cNvPr id="57" name="TekstSylinder 53">
            <a:extLst>
              <a:ext uri="{FF2B5EF4-FFF2-40B4-BE49-F238E27FC236}">
                <a16:creationId xmlns:a16="http://schemas.microsoft.com/office/drawing/2014/main" id="{A0E38AF6-9E76-40A0-9009-7D4224CCEC76}"/>
              </a:ext>
            </a:extLst>
          </p:cNvPr>
          <p:cNvSpPr txBox="1"/>
          <p:nvPr/>
        </p:nvSpPr>
        <p:spPr>
          <a:xfrm>
            <a:off x="5643739" y="2437906"/>
            <a:ext cx="7617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</a:t>
            </a: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92E17BB9-0B7F-4AF7-9511-A41866153704}"/>
              </a:ext>
            </a:extLst>
          </p:cNvPr>
          <p:cNvSpPr/>
          <p:nvPr/>
        </p:nvSpPr>
        <p:spPr>
          <a:xfrm>
            <a:off x="6366117" y="3139907"/>
            <a:ext cx="426151" cy="39369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TekstSylinder 58">
            <a:extLst>
              <a:ext uri="{FF2B5EF4-FFF2-40B4-BE49-F238E27FC236}">
                <a16:creationId xmlns:a16="http://schemas.microsoft.com/office/drawing/2014/main" id="{B6EEC3FF-D717-4CB3-B805-28A771762811}"/>
              </a:ext>
            </a:extLst>
          </p:cNvPr>
          <p:cNvSpPr txBox="1"/>
          <p:nvPr/>
        </p:nvSpPr>
        <p:spPr>
          <a:xfrm>
            <a:off x="6408581" y="3247629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E</a:t>
            </a: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8BD10F7A-89B8-4AE5-B30E-9FA0FD4A8C1F}"/>
              </a:ext>
            </a:extLst>
          </p:cNvPr>
          <p:cNvSpPr/>
          <p:nvPr/>
        </p:nvSpPr>
        <p:spPr>
          <a:xfrm>
            <a:off x="5826076" y="3293724"/>
            <a:ext cx="426151" cy="39369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TekstSylinder 60">
            <a:extLst>
              <a:ext uri="{FF2B5EF4-FFF2-40B4-BE49-F238E27FC236}">
                <a16:creationId xmlns:a16="http://schemas.microsoft.com/office/drawing/2014/main" id="{582AD3FA-251C-4EF5-996E-4B655B3F2F46}"/>
              </a:ext>
            </a:extLst>
          </p:cNvPr>
          <p:cNvSpPr txBox="1"/>
          <p:nvPr/>
        </p:nvSpPr>
        <p:spPr>
          <a:xfrm>
            <a:off x="5868540" y="3401446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E</a:t>
            </a: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45DBA0B7-6AB1-4A49-BAAD-66902D1CEF7A}"/>
              </a:ext>
            </a:extLst>
          </p:cNvPr>
          <p:cNvSpPr/>
          <p:nvPr/>
        </p:nvSpPr>
        <p:spPr>
          <a:xfrm>
            <a:off x="6584219" y="2674236"/>
            <a:ext cx="426151" cy="39369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TekstSylinder 62">
            <a:extLst>
              <a:ext uri="{FF2B5EF4-FFF2-40B4-BE49-F238E27FC236}">
                <a16:creationId xmlns:a16="http://schemas.microsoft.com/office/drawing/2014/main" id="{CD76F51F-5409-41D1-9A51-E9AD7A5D443D}"/>
              </a:ext>
            </a:extLst>
          </p:cNvPr>
          <p:cNvSpPr txBox="1"/>
          <p:nvPr/>
        </p:nvSpPr>
        <p:spPr>
          <a:xfrm>
            <a:off x="6626683" y="2781958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E</a:t>
            </a:r>
          </a:p>
        </p:txBody>
      </p:sp>
      <p:cxnSp>
        <p:nvCxnSpPr>
          <p:cNvPr id="64" name="Rett linje 63">
            <a:extLst>
              <a:ext uri="{FF2B5EF4-FFF2-40B4-BE49-F238E27FC236}">
                <a16:creationId xmlns:a16="http://schemas.microsoft.com/office/drawing/2014/main" id="{508E330E-9CB3-449C-BCDC-773EDD9941FC}"/>
              </a:ext>
            </a:extLst>
          </p:cNvPr>
          <p:cNvCxnSpPr>
            <a:cxnSpLocks/>
            <a:stCxn id="50" idx="4"/>
            <a:endCxn id="60" idx="0"/>
          </p:cNvCxnSpPr>
          <p:nvPr/>
        </p:nvCxnSpPr>
        <p:spPr>
          <a:xfrm>
            <a:off x="6032207" y="2941448"/>
            <a:ext cx="6945" cy="35227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Rett linje 64">
            <a:extLst>
              <a:ext uri="{FF2B5EF4-FFF2-40B4-BE49-F238E27FC236}">
                <a16:creationId xmlns:a16="http://schemas.microsoft.com/office/drawing/2014/main" id="{793A149D-B5BA-4BA8-8D88-115A7EB1E9AF}"/>
              </a:ext>
            </a:extLst>
          </p:cNvPr>
          <p:cNvCxnSpPr>
            <a:cxnSpLocks/>
            <a:stCxn id="50" idx="4"/>
            <a:endCxn id="58" idx="1"/>
          </p:cNvCxnSpPr>
          <p:nvPr/>
        </p:nvCxnSpPr>
        <p:spPr>
          <a:xfrm>
            <a:off x="6032207" y="2941448"/>
            <a:ext cx="396318" cy="25611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81">
            <a:extLst>
              <a:ext uri="{FF2B5EF4-FFF2-40B4-BE49-F238E27FC236}">
                <a16:creationId xmlns:a16="http://schemas.microsoft.com/office/drawing/2014/main" id="{FD01E5D4-971B-4CA1-9812-F23F3212776E}"/>
              </a:ext>
            </a:extLst>
          </p:cNvPr>
          <p:cNvSpPr/>
          <p:nvPr/>
        </p:nvSpPr>
        <p:spPr>
          <a:xfrm>
            <a:off x="9265246" y="1718848"/>
            <a:ext cx="674557" cy="634391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Ellipse 83">
            <a:extLst>
              <a:ext uri="{FF2B5EF4-FFF2-40B4-BE49-F238E27FC236}">
                <a16:creationId xmlns:a16="http://schemas.microsoft.com/office/drawing/2014/main" id="{40BF64B0-72C8-4BCB-8A2B-A1B9E896BC55}"/>
              </a:ext>
            </a:extLst>
          </p:cNvPr>
          <p:cNvSpPr/>
          <p:nvPr/>
        </p:nvSpPr>
        <p:spPr>
          <a:xfrm>
            <a:off x="9000971" y="2143765"/>
            <a:ext cx="674557" cy="634391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TekstSylinder 87">
            <a:extLst>
              <a:ext uri="{FF2B5EF4-FFF2-40B4-BE49-F238E27FC236}">
                <a16:creationId xmlns:a16="http://schemas.microsoft.com/office/drawing/2014/main" id="{96AE94FE-9C8C-4FE0-9A7C-0DEDC57A7AEE}"/>
              </a:ext>
            </a:extLst>
          </p:cNvPr>
          <p:cNvSpPr txBox="1"/>
          <p:nvPr/>
        </p:nvSpPr>
        <p:spPr>
          <a:xfrm>
            <a:off x="9243670" y="1914042"/>
            <a:ext cx="6992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ggherre</a:t>
            </a:r>
          </a:p>
        </p:txBody>
      </p:sp>
      <p:sp>
        <p:nvSpPr>
          <p:cNvPr id="69" name="TekstSylinder 88">
            <a:extLst>
              <a:ext uri="{FF2B5EF4-FFF2-40B4-BE49-F238E27FC236}">
                <a16:creationId xmlns:a16="http://schemas.microsoft.com/office/drawing/2014/main" id="{6DB281C2-7BDA-4CF5-ACFB-2503A96E385F}"/>
              </a:ext>
            </a:extLst>
          </p:cNvPr>
          <p:cNvSpPr txBox="1"/>
          <p:nvPr/>
        </p:nvSpPr>
        <p:spPr>
          <a:xfrm>
            <a:off x="9011311" y="2367518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ADCED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ådgiver</a:t>
            </a:r>
          </a:p>
        </p:txBody>
      </p:sp>
      <p:sp>
        <p:nvSpPr>
          <p:cNvPr id="70" name="Ellipse 90">
            <a:extLst>
              <a:ext uri="{FF2B5EF4-FFF2-40B4-BE49-F238E27FC236}">
                <a16:creationId xmlns:a16="http://schemas.microsoft.com/office/drawing/2014/main" id="{F4411B11-42BB-4CE6-BF15-9374EB206B6F}"/>
              </a:ext>
            </a:extLst>
          </p:cNvPr>
          <p:cNvSpPr/>
          <p:nvPr/>
        </p:nvSpPr>
        <p:spPr>
          <a:xfrm>
            <a:off x="10033948" y="2528573"/>
            <a:ext cx="426151" cy="39369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TekstSylinder 91">
            <a:extLst>
              <a:ext uri="{FF2B5EF4-FFF2-40B4-BE49-F238E27FC236}">
                <a16:creationId xmlns:a16="http://schemas.microsoft.com/office/drawing/2014/main" id="{15B40D2B-5B83-4AC3-9DE3-DE588BFEAB7A}"/>
              </a:ext>
            </a:extLst>
          </p:cNvPr>
          <p:cNvSpPr txBox="1"/>
          <p:nvPr/>
        </p:nvSpPr>
        <p:spPr>
          <a:xfrm>
            <a:off x="10076412" y="2636295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E</a:t>
            </a:r>
          </a:p>
        </p:txBody>
      </p:sp>
      <p:sp>
        <p:nvSpPr>
          <p:cNvPr id="72" name="Ellipse 94">
            <a:extLst>
              <a:ext uri="{FF2B5EF4-FFF2-40B4-BE49-F238E27FC236}">
                <a16:creationId xmlns:a16="http://schemas.microsoft.com/office/drawing/2014/main" id="{3E16757C-2690-4151-9676-E1E6AD0BB31A}"/>
              </a:ext>
            </a:extLst>
          </p:cNvPr>
          <p:cNvSpPr/>
          <p:nvPr/>
        </p:nvSpPr>
        <p:spPr>
          <a:xfrm>
            <a:off x="10137017" y="2186266"/>
            <a:ext cx="426151" cy="393690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TekstSylinder 95">
            <a:extLst>
              <a:ext uri="{FF2B5EF4-FFF2-40B4-BE49-F238E27FC236}">
                <a16:creationId xmlns:a16="http://schemas.microsoft.com/office/drawing/2014/main" id="{F7C8F2B8-0BD3-41F0-9E75-6EF7EAE856F2}"/>
              </a:ext>
            </a:extLst>
          </p:cNvPr>
          <p:cNvSpPr txBox="1"/>
          <p:nvPr/>
        </p:nvSpPr>
        <p:spPr>
          <a:xfrm>
            <a:off x="10179481" y="2293988"/>
            <a:ext cx="3273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E</a:t>
            </a:r>
          </a:p>
        </p:txBody>
      </p:sp>
      <p:sp>
        <p:nvSpPr>
          <p:cNvPr id="74" name="Ellipse 82">
            <a:extLst>
              <a:ext uri="{FF2B5EF4-FFF2-40B4-BE49-F238E27FC236}">
                <a16:creationId xmlns:a16="http://schemas.microsoft.com/office/drawing/2014/main" id="{D3509335-BF77-4DA5-A3F5-E06789EA799E}"/>
              </a:ext>
            </a:extLst>
          </p:cNvPr>
          <p:cNvSpPr/>
          <p:nvPr/>
        </p:nvSpPr>
        <p:spPr>
          <a:xfrm>
            <a:off x="9551335" y="2143765"/>
            <a:ext cx="674557" cy="634391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5" name="TekstSylinder 89">
            <a:extLst>
              <a:ext uri="{FF2B5EF4-FFF2-40B4-BE49-F238E27FC236}">
                <a16:creationId xmlns:a16="http://schemas.microsoft.com/office/drawing/2014/main" id="{3C90D236-1091-4E5B-8CE6-91880822CE42}"/>
              </a:ext>
            </a:extLst>
          </p:cNvPr>
          <p:cNvSpPr txBox="1"/>
          <p:nvPr/>
        </p:nvSpPr>
        <p:spPr>
          <a:xfrm>
            <a:off x="9502286" y="2297486"/>
            <a:ext cx="7617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>
                <a:ln>
                  <a:noFill/>
                </a:ln>
                <a:solidFill>
                  <a:srgbClr val="BFCDC7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reprenør</a:t>
            </a:r>
          </a:p>
        </p:txBody>
      </p:sp>
      <p:sp>
        <p:nvSpPr>
          <p:cNvPr id="76" name="TekstSylinder 98">
            <a:extLst>
              <a:ext uri="{FF2B5EF4-FFF2-40B4-BE49-F238E27FC236}">
                <a16:creationId xmlns:a16="http://schemas.microsoft.com/office/drawing/2014/main" id="{EE100A4A-A794-4776-AE0D-512DCAA23085}"/>
              </a:ext>
            </a:extLst>
          </p:cNvPr>
          <p:cNvSpPr txBox="1"/>
          <p:nvPr/>
        </p:nvSpPr>
        <p:spPr>
          <a:xfrm>
            <a:off x="5291494" y="1190357"/>
            <a:ext cx="15231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TALENTREPRISER</a:t>
            </a:r>
          </a:p>
        </p:txBody>
      </p:sp>
      <p:sp>
        <p:nvSpPr>
          <p:cNvPr id="77" name="TekstSylinder 99">
            <a:extLst>
              <a:ext uri="{FF2B5EF4-FFF2-40B4-BE49-F238E27FC236}">
                <a16:creationId xmlns:a16="http://schemas.microsoft.com/office/drawing/2014/main" id="{95AE46A5-3B3C-4AE9-BB69-9528A1522AA5}"/>
              </a:ext>
            </a:extLst>
          </p:cNvPr>
          <p:cNvSpPr txBox="1"/>
          <p:nvPr/>
        </p:nvSpPr>
        <p:spPr>
          <a:xfrm>
            <a:off x="8774791" y="1181427"/>
            <a:ext cx="16369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SPILLSMODELLER</a:t>
            </a:r>
          </a:p>
        </p:txBody>
      </p:sp>
    </p:spTree>
    <p:extLst>
      <p:ext uri="{BB962C8B-B14F-4D97-AF65-F5344CB8AC3E}">
        <p14:creationId xmlns:p14="http://schemas.microsoft.com/office/powerpoint/2010/main" val="736204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ktangel 45">
            <a:extLst>
              <a:ext uri="{FF2B5EF4-FFF2-40B4-BE49-F238E27FC236}">
                <a16:creationId xmlns:a16="http://schemas.microsoft.com/office/drawing/2014/main" id="{0BBC4F76-C271-4E0E-95B7-34247CC61EC1}"/>
              </a:ext>
            </a:extLst>
          </p:cNvPr>
          <p:cNvSpPr/>
          <p:nvPr/>
        </p:nvSpPr>
        <p:spPr>
          <a:xfrm>
            <a:off x="321787" y="3629173"/>
            <a:ext cx="1075956" cy="12252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DBB223A4-0F23-4C86-BB69-9D9B83071639}"/>
              </a:ext>
            </a:extLst>
          </p:cNvPr>
          <p:cNvSpPr/>
          <p:nvPr/>
        </p:nvSpPr>
        <p:spPr>
          <a:xfrm>
            <a:off x="321787" y="1185466"/>
            <a:ext cx="1081772" cy="11390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Pil: vinkeltegn 25"/>
          <p:cNvSpPr/>
          <p:nvPr/>
        </p:nvSpPr>
        <p:spPr bwMode="auto">
          <a:xfrm>
            <a:off x="3264760" y="4148794"/>
            <a:ext cx="3195989" cy="492756"/>
          </a:xfrm>
          <a:prstGeom prst="chevron">
            <a:avLst>
              <a:gd name="adj" fmla="val 21100"/>
            </a:avLst>
          </a:prstGeom>
          <a:solidFill>
            <a:schemeClr val="tx2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Pil: vinkeltegn 33"/>
          <p:cNvSpPr/>
          <p:nvPr/>
        </p:nvSpPr>
        <p:spPr bwMode="auto">
          <a:xfrm>
            <a:off x="1544784" y="4142775"/>
            <a:ext cx="973343" cy="492756"/>
          </a:xfrm>
          <a:prstGeom prst="chevron">
            <a:avLst>
              <a:gd name="adj" fmla="val 18347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sept/</a:t>
            </a:r>
          </a:p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nb-NO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sse</a:t>
            </a:r>
            <a:endParaRPr kumimoji="0" lang="nb-NO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Pil: vinkeltegn 18"/>
          <p:cNvSpPr/>
          <p:nvPr/>
        </p:nvSpPr>
        <p:spPr bwMode="auto">
          <a:xfrm>
            <a:off x="7178774" y="1599318"/>
            <a:ext cx="3488932" cy="483101"/>
          </a:xfrm>
          <a:prstGeom prst="chevron">
            <a:avLst>
              <a:gd name="adj" fmla="val 18971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jektering og utførelse</a:t>
            </a:r>
          </a:p>
        </p:txBody>
      </p:sp>
      <p:sp>
        <p:nvSpPr>
          <p:cNvPr id="41" name="Tittel 40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sz="2400"/>
              <a:t>Valg mellom hovedstrategier</a:t>
            </a:r>
            <a:br>
              <a:rPr lang="nb-NO" sz="2400"/>
            </a:br>
            <a:r>
              <a:rPr lang="nb-NO" sz="2400"/>
              <a:t> </a:t>
            </a:r>
            <a:r>
              <a:rPr lang="nb-NO" sz="1800"/>
              <a:t>– en sammenligning av tradisjonell modell og samspill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33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nb-NO" sz="1333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 bwMode="auto">
          <a:xfrm>
            <a:off x="4837920" y="2388685"/>
            <a:ext cx="1748195" cy="492756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s for konkurransen er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Prosjektert løsning</a:t>
            </a:r>
          </a:p>
        </p:txBody>
      </p:sp>
      <p:sp>
        <p:nvSpPr>
          <p:cNvPr id="18" name="Pil: vinkeltegn 17"/>
          <p:cNvSpPr/>
          <p:nvPr/>
        </p:nvSpPr>
        <p:spPr bwMode="auto">
          <a:xfrm>
            <a:off x="6463514" y="1591253"/>
            <a:ext cx="715260" cy="492756"/>
          </a:xfrm>
          <a:prstGeom prst="chevron">
            <a:avLst>
              <a:gd name="adj" fmla="val 19579"/>
            </a:avLst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Pil: vinkeltegn 32"/>
          <p:cNvSpPr/>
          <p:nvPr/>
        </p:nvSpPr>
        <p:spPr bwMode="auto">
          <a:xfrm>
            <a:off x="3170891" y="1581600"/>
            <a:ext cx="3322303" cy="492756"/>
          </a:xfrm>
          <a:prstGeom prst="chevron">
            <a:avLst>
              <a:gd name="adj" fmla="val 21100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prosjekt/ Detaljprosjektering</a:t>
            </a:r>
          </a:p>
        </p:txBody>
      </p:sp>
      <p:cxnSp>
        <p:nvCxnSpPr>
          <p:cNvPr id="36" name="Rett linje 35"/>
          <p:cNvCxnSpPr>
            <a:cxnSpLocks/>
          </p:cNvCxnSpPr>
          <p:nvPr/>
        </p:nvCxnSpPr>
        <p:spPr bwMode="auto">
          <a:xfrm>
            <a:off x="0" y="354062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TekstSylinder 38"/>
          <p:cNvSpPr txBox="1"/>
          <p:nvPr/>
        </p:nvSpPr>
        <p:spPr>
          <a:xfrm>
            <a:off x="262056" y="1519812"/>
            <a:ext cx="11996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sjonell modell</a:t>
            </a:r>
          </a:p>
        </p:txBody>
      </p:sp>
      <p:sp>
        <p:nvSpPr>
          <p:cNvPr id="40" name="TekstSylinder 39"/>
          <p:cNvSpPr txBox="1"/>
          <p:nvPr/>
        </p:nvSpPr>
        <p:spPr>
          <a:xfrm>
            <a:off x="319656" y="4105268"/>
            <a:ext cx="9444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mspill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6276775" y="1286577"/>
            <a:ext cx="9733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kurra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ektangel 37"/>
          <p:cNvSpPr/>
          <p:nvPr/>
        </p:nvSpPr>
        <p:spPr bwMode="auto">
          <a:xfrm>
            <a:off x="6948994" y="2388685"/>
            <a:ext cx="1883579" cy="492756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 betydelig del av tildeling baseres på  priser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38D27DA3-62D2-4A00-B674-2BDF7647070C}"/>
              </a:ext>
            </a:extLst>
          </p:cNvPr>
          <p:cNvSpPr/>
          <p:nvPr/>
        </p:nvSpPr>
        <p:spPr bwMode="auto">
          <a:xfrm>
            <a:off x="973267" y="5007370"/>
            <a:ext cx="1778345" cy="94439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s for konkurransen er:</a:t>
            </a:r>
          </a:p>
          <a:p>
            <a:pPr marL="171450" marR="0" lvl="0" indent="-17145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priser</a:t>
            </a:r>
          </a:p>
          <a:p>
            <a:pPr marL="171450" marR="0" lvl="0" indent="-17145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åslag</a:t>
            </a:r>
          </a:p>
          <a:p>
            <a:pPr marL="171450" marR="0" lvl="0" indent="-17145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ganisasjon</a:t>
            </a:r>
          </a:p>
          <a:p>
            <a:pPr marL="171450" marR="0" lvl="0" indent="-17145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jennomfør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72AE64AD-C19E-47EF-A727-31B53CFE2A54}"/>
              </a:ext>
            </a:extLst>
          </p:cNvPr>
          <p:cNvSpPr/>
          <p:nvPr/>
        </p:nvSpPr>
        <p:spPr bwMode="auto">
          <a:xfrm>
            <a:off x="2950639" y="5005810"/>
            <a:ext cx="1778339" cy="94439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n vesentligste del av tildeling baseres på  organisasjon og gjennomføring</a:t>
            </a:r>
          </a:p>
        </p:txBody>
      </p:sp>
      <p:cxnSp>
        <p:nvCxnSpPr>
          <p:cNvPr id="51" name="Rett pilkobling 50">
            <a:extLst>
              <a:ext uri="{FF2B5EF4-FFF2-40B4-BE49-F238E27FC236}">
                <a16:creationId xmlns:a16="http://schemas.microsoft.com/office/drawing/2014/main" id="{20BC127B-8EA9-436D-A21D-9AE107712338}"/>
              </a:ext>
            </a:extLst>
          </p:cNvPr>
          <p:cNvCxnSpPr>
            <a:cxnSpLocks/>
          </p:cNvCxnSpPr>
          <p:nvPr/>
        </p:nvCxnSpPr>
        <p:spPr bwMode="auto">
          <a:xfrm>
            <a:off x="3172766" y="4649086"/>
            <a:ext cx="0" cy="24946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Rett pilkobling 51">
            <a:extLst>
              <a:ext uri="{FF2B5EF4-FFF2-40B4-BE49-F238E27FC236}">
                <a16:creationId xmlns:a16="http://schemas.microsoft.com/office/drawing/2014/main" id="{2DEC034B-E839-45EF-9B08-C3C28071864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588716" y="4649086"/>
            <a:ext cx="5816" cy="21872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Rett pilkobling 52">
            <a:extLst>
              <a:ext uri="{FF2B5EF4-FFF2-40B4-BE49-F238E27FC236}">
                <a16:creationId xmlns:a16="http://schemas.microsoft.com/office/drawing/2014/main" id="{D93E7745-1CC2-4EB8-8DA7-1FD6771D5BBD}"/>
              </a:ext>
            </a:extLst>
          </p:cNvPr>
          <p:cNvCxnSpPr>
            <a:cxnSpLocks/>
          </p:cNvCxnSpPr>
          <p:nvPr/>
        </p:nvCxnSpPr>
        <p:spPr bwMode="auto">
          <a:xfrm>
            <a:off x="7128983" y="2102010"/>
            <a:ext cx="0" cy="24946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Rett pilkobling 53">
            <a:extLst>
              <a:ext uri="{FF2B5EF4-FFF2-40B4-BE49-F238E27FC236}">
                <a16:creationId xmlns:a16="http://schemas.microsoft.com/office/drawing/2014/main" id="{F365C6B4-5F21-4EC5-8D5B-D62C75ECD9C1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487379" y="2102010"/>
            <a:ext cx="5816" cy="21872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Rektangel 15">
            <a:extLst>
              <a:ext uri="{FF2B5EF4-FFF2-40B4-BE49-F238E27FC236}">
                <a16:creationId xmlns:a16="http://schemas.microsoft.com/office/drawing/2014/main" id="{D8F95265-AF29-477C-B6FC-852C051995CB}"/>
              </a:ext>
            </a:extLst>
          </p:cNvPr>
          <p:cNvSpPr/>
          <p:nvPr/>
        </p:nvSpPr>
        <p:spPr>
          <a:xfrm>
            <a:off x="545248" y="1138926"/>
            <a:ext cx="520162" cy="20980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2FE80156-EC49-4136-90C6-0B6E4EAFEBB7}"/>
              </a:ext>
            </a:extLst>
          </p:cNvPr>
          <p:cNvSpPr txBox="1"/>
          <p:nvPr/>
        </p:nvSpPr>
        <p:spPr>
          <a:xfrm>
            <a:off x="3786911" y="4254492"/>
            <a:ext cx="1750800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jektutvikling – Fase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Pil: vinkeltegn 41">
            <a:extLst>
              <a:ext uri="{FF2B5EF4-FFF2-40B4-BE49-F238E27FC236}">
                <a16:creationId xmlns:a16="http://schemas.microsoft.com/office/drawing/2014/main" id="{7BB4D495-7A98-4EE3-847B-59D4922004D7}"/>
              </a:ext>
            </a:extLst>
          </p:cNvPr>
          <p:cNvSpPr/>
          <p:nvPr/>
        </p:nvSpPr>
        <p:spPr bwMode="auto">
          <a:xfrm>
            <a:off x="2530868" y="4144506"/>
            <a:ext cx="715260" cy="492756"/>
          </a:xfrm>
          <a:prstGeom prst="chevron">
            <a:avLst>
              <a:gd name="adj" fmla="val 19579"/>
            </a:avLst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45255BED-29E1-4C12-86F9-681D95AAE199}"/>
              </a:ext>
            </a:extLst>
          </p:cNvPr>
          <p:cNvSpPr txBox="1"/>
          <p:nvPr/>
        </p:nvSpPr>
        <p:spPr>
          <a:xfrm>
            <a:off x="2318882" y="3855661"/>
            <a:ext cx="9733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kurra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88FDB39-08FC-471B-AFC5-563A1C1BDF22}"/>
              </a:ext>
            </a:extLst>
          </p:cNvPr>
          <p:cNvSpPr txBox="1"/>
          <p:nvPr/>
        </p:nvSpPr>
        <p:spPr>
          <a:xfrm>
            <a:off x="6276775" y="4934683"/>
            <a:ext cx="1546743" cy="553998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astsatt pris og grunnlag for gjennomfør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6301AF6-9DFA-4E6E-A7C6-3BAD8B95F3DE}"/>
              </a:ext>
            </a:extLst>
          </p:cNvPr>
          <p:cNvSpPr txBox="1"/>
          <p:nvPr/>
        </p:nvSpPr>
        <p:spPr>
          <a:xfrm>
            <a:off x="6066719" y="3591804"/>
            <a:ext cx="111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slutning videreføring</a:t>
            </a:r>
          </a:p>
        </p:txBody>
      </p:sp>
      <p:sp>
        <p:nvSpPr>
          <p:cNvPr id="12" name="Likebent trekant 11">
            <a:extLst>
              <a:ext uri="{FF2B5EF4-FFF2-40B4-BE49-F238E27FC236}">
                <a16:creationId xmlns:a16="http://schemas.microsoft.com/office/drawing/2014/main" id="{64F6B323-0ED8-4F10-8FB4-4341018F5184}"/>
              </a:ext>
            </a:extLst>
          </p:cNvPr>
          <p:cNvSpPr/>
          <p:nvPr/>
        </p:nvSpPr>
        <p:spPr>
          <a:xfrm rot="10800000">
            <a:off x="6370574" y="4003844"/>
            <a:ext cx="253014" cy="20284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Pil: vinkeltegn 47">
            <a:extLst>
              <a:ext uri="{FF2B5EF4-FFF2-40B4-BE49-F238E27FC236}">
                <a16:creationId xmlns:a16="http://schemas.microsoft.com/office/drawing/2014/main" id="{470A5AAB-5177-490F-A3B7-A5130F50B782}"/>
              </a:ext>
            </a:extLst>
          </p:cNvPr>
          <p:cNvSpPr/>
          <p:nvPr/>
        </p:nvSpPr>
        <p:spPr bwMode="auto">
          <a:xfrm>
            <a:off x="10653983" y="1581601"/>
            <a:ext cx="1381263" cy="497582"/>
          </a:xfrm>
          <a:prstGeom prst="chevron">
            <a:avLst>
              <a:gd name="adj" fmla="val 18971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ift </a:t>
            </a:r>
          </a:p>
        </p:txBody>
      </p:sp>
      <p:sp>
        <p:nvSpPr>
          <p:cNvPr id="49" name="Pil: vinkeltegn 48">
            <a:extLst>
              <a:ext uri="{FF2B5EF4-FFF2-40B4-BE49-F238E27FC236}">
                <a16:creationId xmlns:a16="http://schemas.microsoft.com/office/drawing/2014/main" id="{E8280096-A819-46FB-8EB1-2BA41B1D660A}"/>
              </a:ext>
            </a:extLst>
          </p:cNvPr>
          <p:cNvSpPr/>
          <p:nvPr/>
        </p:nvSpPr>
        <p:spPr bwMode="auto">
          <a:xfrm>
            <a:off x="10064497" y="4142775"/>
            <a:ext cx="1381263" cy="516193"/>
          </a:xfrm>
          <a:prstGeom prst="chevron">
            <a:avLst>
              <a:gd name="adj" fmla="val 18971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ift </a:t>
            </a:r>
          </a:p>
        </p:txBody>
      </p:sp>
      <p:sp>
        <p:nvSpPr>
          <p:cNvPr id="44" name="Pil: vinkeltegn 43">
            <a:extLst>
              <a:ext uri="{FF2B5EF4-FFF2-40B4-BE49-F238E27FC236}">
                <a16:creationId xmlns:a16="http://schemas.microsoft.com/office/drawing/2014/main" id="{2EE4F04C-7F24-4E49-914D-6AF207990C5A}"/>
              </a:ext>
            </a:extLst>
          </p:cNvPr>
          <p:cNvSpPr/>
          <p:nvPr/>
        </p:nvSpPr>
        <p:spPr bwMode="auto">
          <a:xfrm>
            <a:off x="2518127" y="1591253"/>
            <a:ext cx="660595" cy="492756"/>
          </a:xfrm>
          <a:prstGeom prst="chevron">
            <a:avLst>
              <a:gd name="adj" fmla="val 19579"/>
            </a:avLst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5FD982A9-5A2F-4185-913B-FE731F747F93}"/>
              </a:ext>
            </a:extLst>
          </p:cNvPr>
          <p:cNvSpPr txBox="1"/>
          <p:nvPr/>
        </p:nvSpPr>
        <p:spPr>
          <a:xfrm>
            <a:off x="2291967" y="1267271"/>
            <a:ext cx="9733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kurra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1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4B0B2ECB-4727-4534-9F0E-00EB9DE90197}"/>
              </a:ext>
            </a:extLst>
          </p:cNvPr>
          <p:cNvSpPr/>
          <p:nvPr/>
        </p:nvSpPr>
        <p:spPr bwMode="auto">
          <a:xfrm>
            <a:off x="2861626" y="2360800"/>
            <a:ext cx="1021804" cy="615172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traher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0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kitekt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00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ådgiver(e)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56" name="Rett pilkobling 55">
            <a:extLst>
              <a:ext uri="{FF2B5EF4-FFF2-40B4-BE49-F238E27FC236}">
                <a16:creationId xmlns:a16="http://schemas.microsoft.com/office/drawing/2014/main" id="{83F35AD5-2E59-48CA-B278-F7D8F314854B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081168" y="2102010"/>
            <a:ext cx="5816" cy="21872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Pil: vinkeltegn 56">
            <a:extLst>
              <a:ext uri="{FF2B5EF4-FFF2-40B4-BE49-F238E27FC236}">
                <a16:creationId xmlns:a16="http://schemas.microsoft.com/office/drawing/2014/main" id="{DEBF4867-E1F6-4B3A-9C29-6867ED46874C}"/>
              </a:ext>
            </a:extLst>
          </p:cNvPr>
          <p:cNvSpPr/>
          <p:nvPr/>
        </p:nvSpPr>
        <p:spPr bwMode="auto">
          <a:xfrm>
            <a:off x="1548253" y="1599318"/>
            <a:ext cx="973343" cy="492756"/>
          </a:xfrm>
          <a:prstGeom prst="chevron">
            <a:avLst>
              <a:gd name="adj" fmla="val 18347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nsept/Skisse</a:t>
            </a:r>
          </a:p>
        </p:txBody>
      </p:sp>
      <p:sp>
        <p:nvSpPr>
          <p:cNvPr id="58" name="Pil: vinkeltegn 57">
            <a:extLst>
              <a:ext uri="{FF2B5EF4-FFF2-40B4-BE49-F238E27FC236}">
                <a16:creationId xmlns:a16="http://schemas.microsoft.com/office/drawing/2014/main" id="{BB9DC97F-C234-437D-80B7-F595ECF92010}"/>
              </a:ext>
            </a:extLst>
          </p:cNvPr>
          <p:cNvSpPr/>
          <p:nvPr/>
        </p:nvSpPr>
        <p:spPr bwMode="auto">
          <a:xfrm>
            <a:off x="6573434" y="4166942"/>
            <a:ext cx="3488932" cy="483101"/>
          </a:xfrm>
          <a:prstGeom prst="chevron">
            <a:avLst>
              <a:gd name="adj" fmla="val 18971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jektering og utførelse – Fase 2</a:t>
            </a: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256C74AA-6B0E-4F2A-8178-6D11C53F8A97}"/>
              </a:ext>
            </a:extLst>
          </p:cNvPr>
          <p:cNvSpPr/>
          <p:nvPr/>
        </p:nvSpPr>
        <p:spPr bwMode="auto">
          <a:xfrm>
            <a:off x="973267" y="2381140"/>
            <a:ext cx="1778345" cy="58520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s for konkurransen er:</a:t>
            </a:r>
          </a:p>
          <a:p>
            <a:pPr marL="171450" marR="0" lvl="0" indent="-17145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priser</a:t>
            </a:r>
          </a:p>
          <a:p>
            <a:pPr marL="171450" marR="0" lvl="0" indent="-17145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sone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0" name="Rett pilkobling 59">
            <a:extLst>
              <a:ext uri="{FF2B5EF4-FFF2-40B4-BE49-F238E27FC236}">
                <a16:creationId xmlns:a16="http://schemas.microsoft.com/office/drawing/2014/main" id="{FA3E8D19-BFA9-4739-B6D3-29A1EA21499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527960" y="2113040"/>
            <a:ext cx="5816" cy="21872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Rett pilkobling 60">
            <a:extLst>
              <a:ext uri="{FF2B5EF4-FFF2-40B4-BE49-F238E27FC236}">
                <a16:creationId xmlns:a16="http://schemas.microsoft.com/office/drawing/2014/main" id="{5B35B6C0-A23A-481F-A215-8AE84F334403}"/>
              </a:ext>
            </a:extLst>
          </p:cNvPr>
          <p:cNvCxnSpPr>
            <a:cxnSpLocks/>
          </p:cNvCxnSpPr>
          <p:nvPr/>
        </p:nvCxnSpPr>
        <p:spPr bwMode="auto">
          <a:xfrm>
            <a:off x="6487379" y="4649086"/>
            <a:ext cx="0" cy="24946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471265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dspunkt for involvering av nøkkelaktører</a:t>
            </a:r>
          </a:p>
        </p:txBody>
      </p:sp>
      <p:sp>
        <p:nvSpPr>
          <p:cNvPr id="3" name="Pil: vinkeltegn 2"/>
          <p:cNvSpPr/>
          <p:nvPr/>
        </p:nvSpPr>
        <p:spPr bwMode="auto">
          <a:xfrm>
            <a:off x="815413" y="1439605"/>
            <a:ext cx="2399735" cy="576064"/>
          </a:xfrm>
          <a:prstGeom prst="chevron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isseprosjekt</a:t>
            </a:r>
          </a:p>
        </p:txBody>
      </p:sp>
      <p:sp>
        <p:nvSpPr>
          <p:cNvPr id="4" name="Pil: vinkeltegn 3"/>
          <p:cNvSpPr/>
          <p:nvPr/>
        </p:nvSpPr>
        <p:spPr bwMode="auto">
          <a:xfrm>
            <a:off x="3031763" y="1433745"/>
            <a:ext cx="2399735" cy="576064"/>
          </a:xfrm>
          <a:prstGeom prst="chevron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prosjekt</a:t>
            </a:r>
          </a:p>
        </p:txBody>
      </p:sp>
      <p:sp>
        <p:nvSpPr>
          <p:cNvPr id="6" name="Pil: vinkeltegn 5"/>
          <p:cNvSpPr/>
          <p:nvPr/>
        </p:nvSpPr>
        <p:spPr bwMode="auto">
          <a:xfrm>
            <a:off x="744605" y="2817124"/>
            <a:ext cx="6063379" cy="409979"/>
          </a:xfrm>
          <a:prstGeom prst="chevron">
            <a:avLst/>
          </a:prstGeom>
          <a:solidFill>
            <a:schemeClr val="accent1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il: vinkeltegn 6"/>
          <p:cNvSpPr/>
          <p:nvPr/>
        </p:nvSpPr>
        <p:spPr bwMode="auto">
          <a:xfrm>
            <a:off x="2356306" y="3572004"/>
            <a:ext cx="4446297" cy="410179"/>
          </a:xfrm>
          <a:prstGeom prst="chevron">
            <a:avLst/>
          </a:prstGeom>
          <a:solidFill>
            <a:schemeClr val="tx2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il: vinkeltegn 7"/>
          <p:cNvSpPr/>
          <p:nvPr/>
        </p:nvSpPr>
        <p:spPr bwMode="auto">
          <a:xfrm>
            <a:off x="3813260" y="4322823"/>
            <a:ext cx="2989344" cy="409979"/>
          </a:xfrm>
          <a:prstGeom prst="chevron">
            <a:avLst/>
          </a:prstGeom>
          <a:solidFill>
            <a:schemeClr val="accent2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6991529" y="4201416"/>
            <a:ext cx="18630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i kjent med prosjektering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imere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maliserer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legge fase 2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6991082" y="2698948"/>
            <a:ext cx="19516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ovasj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øringer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virker kostnader betydelig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6991082" y="3588455"/>
            <a:ext cx="18101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flytelse på løsningsvalg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virker kostnader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6991082" y="2222237"/>
            <a:ext cx="2383473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kt av tidlig involvering</a:t>
            </a:r>
          </a:p>
        </p:txBody>
      </p:sp>
      <p:sp>
        <p:nvSpPr>
          <p:cNvPr id="20" name="Pil: vinkeltegn 19"/>
          <p:cNvSpPr/>
          <p:nvPr/>
        </p:nvSpPr>
        <p:spPr bwMode="auto">
          <a:xfrm>
            <a:off x="5375598" y="5353005"/>
            <a:ext cx="1427006" cy="409979"/>
          </a:xfrm>
          <a:prstGeom prst="chevron">
            <a:avLst/>
          </a:prstGeom>
          <a:solidFill>
            <a:schemeClr val="accent3"/>
          </a:solidFill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kstSylinder 20"/>
          <p:cNvSpPr txBox="1"/>
          <p:nvPr/>
        </p:nvSpPr>
        <p:spPr>
          <a:xfrm>
            <a:off x="6991082" y="5419494"/>
            <a:ext cx="27102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ene blir kjent med oppgaven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BD68E275-6E4F-4C7F-A4AC-8805507C5CC5}"/>
              </a:ext>
            </a:extLst>
          </p:cNvPr>
          <p:cNvSpPr txBox="1"/>
          <p:nvPr/>
        </p:nvSpPr>
        <p:spPr>
          <a:xfrm>
            <a:off x="880563" y="4886689"/>
            <a:ext cx="13881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kurranse</a:t>
            </a:r>
          </a:p>
        </p:txBody>
      </p:sp>
      <p:cxnSp>
        <p:nvCxnSpPr>
          <p:cNvPr id="27" name="Rett pilkobling 26">
            <a:extLst>
              <a:ext uri="{FF2B5EF4-FFF2-40B4-BE49-F238E27FC236}">
                <a16:creationId xmlns:a16="http://schemas.microsoft.com/office/drawing/2014/main" id="{7E7722A6-6663-459A-8135-956204D846C8}"/>
              </a:ext>
            </a:extLst>
          </p:cNvPr>
          <p:cNvCxnSpPr>
            <a:cxnSpLocks/>
            <a:stCxn id="10" idx="0"/>
            <a:endCxn id="6" idx="1"/>
          </p:cNvCxnSpPr>
          <p:nvPr/>
        </p:nvCxnSpPr>
        <p:spPr bwMode="auto">
          <a:xfrm flipH="1" flipV="1">
            <a:off x="949595" y="3022114"/>
            <a:ext cx="625037" cy="186457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Rett pilkobling 28">
            <a:extLst>
              <a:ext uri="{FF2B5EF4-FFF2-40B4-BE49-F238E27FC236}">
                <a16:creationId xmlns:a16="http://schemas.microsoft.com/office/drawing/2014/main" id="{DEA6A069-A9B7-4CF2-ACF9-48E1A038EF96}"/>
              </a:ext>
            </a:extLst>
          </p:cNvPr>
          <p:cNvCxnSpPr>
            <a:cxnSpLocks/>
            <a:stCxn id="10" idx="0"/>
            <a:endCxn id="7" idx="1"/>
          </p:cNvCxnSpPr>
          <p:nvPr/>
        </p:nvCxnSpPr>
        <p:spPr bwMode="auto">
          <a:xfrm flipV="1">
            <a:off x="1574632" y="3777094"/>
            <a:ext cx="986764" cy="110959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Rett pilkobling 31">
            <a:extLst>
              <a:ext uri="{FF2B5EF4-FFF2-40B4-BE49-F238E27FC236}">
                <a16:creationId xmlns:a16="http://schemas.microsoft.com/office/drawing/2014/main" id="{B692418E-593D-40E1-8F9A-82298BD6B840}"/>
              </a:ext>
            </a:extLst>
          </p:cNvPr>
          <p:cNvCxnSpPr>
            <a:cxnSpLocks/>
            <a:stCxn id="10" idx="0"/>
            <a:endCxn id="8" idx="1"/>
          </p:cNvCxnSpPr>
          <p:nvPr/>
        </p:nvCxnSpPr>
        <p:spPr bwMode="auto">
          <a:xfrm flipV="1">
            <a:off x="1574632" y="4527813"/>
            <a:ext cx="2443618" cy="358876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Rett pilkobling 34">
            <a:extLst>
              <a:ext uri="{FF2B5EF4-FFF2-40B4-BE49-F238E27FC236}">
                <a16:creationId xmlns:a16="http://schemas.microsoft.com/office/drawing/2014/main" id="{CCF8D76A-9C0C-4437-B250-31CDFECD4CC1}"/>
              </a:ext>
            </a:extLst>
          </p:cNvPr>
          <p:cNvCxnSpPr>
            <a:cxnSpLocks/>
            <a:stCxn id="10" idx="0"/>
          </p:cNvCxnSpPr>
          <p:nvPr/>
        </p:nvCxnSpPr>
        <p:spPr bwMode="auto">
          <a:xfrm>
            <a:off x="1574632" y="4886689"/>
            <a:ext cx="3965434" cy="64633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ktangel 30">
            <a:extLst>
              <a:ext uri="{FF2B5EF4-FFF2-40B4-BE49-F238E27FC236}">
                <a16:creationId xmlns:a16="http://schemas.microsoft.com/office/drawing/2014/main" id="{2784C33B-8809-4E0F-9001-078B21E08644}"/>
              </a:ext>
            </a:extLst>
          </p:cNvPr>
          <p:cNvSpPr/>
          <p:nvPr/>
        </p:nvSpPr>
        <p:spPr>
          <a:xfrm>
            <a:off x="9783350" y="5394717"/>
            <a:ext cx="220331" cy="4092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9E2CDAAB-5077-4384-9255-7E4246F31EAB}"/>
              </a:ext>
            </a:extLst>
          </p:cNvPr>
          <p:cNvSpPr/>
          <p:nvPr/>
        </p:nvSpPr>
        <p:spPr>
          <a:xfrm>
            <a:off x="10080384" y="4380271"/>
            <a:ext cx="220331" cy="14236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20E48239-06C0-4992-A3C7-4988AA8F0E34}"/>
              </a:ext>
            </a:extLst>
          </p:cNvPr>
          <p:cNvSpPr/>
          <p:nvPr/>
        </p:nvSpPr>
        <p:spPr>
          <a:xfrm>
            <a:off x="10408294" y="3687097"/>
            <a:ext cx="220331" cy="21168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A277CFB7-90A8-45ED-BEA2-17C872BFBEE9}"/>
              </a:ext>
            </a:extLst>
          </p:cNvPr>
          <p:cNvSpPr/>
          <p:nvPr/>
        </p:nvSpPr>
        <p:spPr>
          <a:xfrm>
            <a:off x="10750906" y="2750575"/>
            <a:ext cx="220331" cy="30533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74F09622-6842-42E2-94A1-3C21F1329948}"/>
              </a:ext>
            </a:extLst>
          </p:cNvPr>
          <p:cNvSpPr txBox="1"/>
          <p:nvPr/>
        </p:nvSpPr>
        <p:spPr>
          <a:xfrm>
            <a:off x="2629564" y="2889931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spill</a:t>
            </a:r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B49D9D35-5FF2-430F-A9B2-1BEF36AA2489}"/>
              </a:ext>
            </a:extLst>
          </p:cNvPr>
          <p:cNvSpPr txBox="1"/>
          <p:nvPr/>
        </p:nvSpPr>
        <p:spPr>
          <a:xfrm>
            <a:off x="3448376" y="3628825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spill</a:t>
            </a: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13042A2A-296A-475D-85E3-3703C0F5814E}"/>
              </a:ext>
            </a:extLst>
          </p:cNvPr>
          <p:cNvSpPr txBox="1"/>
          <p:nvPr/>
        </p:nvSpPr>
        <p:spPr>
          <a:xfrm>
            <a:off x="4037312" y="4380271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spill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2992A840-5E11-4743-808A-C5DF851844B3}"/>
              </a:ext>
            </a:extLst>
          </p:cNvPr>
          <p:cNvSpPr txBox="1"/>
          <p:nvPr/>
        </p:nvSpPr>
        <p:spPr>
          <a:xfrm>
            <a:off x="5554145" y="5409908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mspill</a:t>
            </a:r>
          </a:p>
        </p:txBody>
      </p:sp>
      <p:sp>
        <p:nvSpPr>
          <p:cNvPr id="33" name="Pil: vinkeltegn 32">
            <a:extLst>
              <a:ext uri="{FF2B5EF4-FFF2-40B4-BE49-F238E27FC236}">
                <a16:creationId xmlns:a16="http://schemas.microsoft.com/office/drawing/2014/main" id="{80E0E1E3-76F8-486A-AA0D-30D288BF25BA}"/>
              </a:ext>
            </a:extLst>
          </p:cNvPr>
          <p:cNvSpPr/>
          <p:nvPr/>
        </p:nvSpPr>
        <p:spPr bwMode="auto">
          <a:xfrm>
            <a:off x="5248113" y="1427885"/>
            <a:ext cx="5788297" cy="576064"/>
          </a:xfrm>
          <a:prstGeom prst="chevron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0000" tIns="62400" rIns="120000" bIns="62400" numCol="1" rtlCol="0" anchor="t" anchorCtr="0" compatLnSpc="1">
            <a:prstTxWarp prst="textNoShape">
              <a:avLst/>
            </a:prstTxWarp>
          </a:bodyPr>
          <a:lstStyle/>
          <a:p>
            <a:pPr lvl="0"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600" b="1" dirty="0">
                <a:latin typeface="Calibri" panose="020F0502020204030204"/>
              </a:rPr>
              <a:t>Detaljprosjektering og bygging</a:t>
            </a:r>
          </a:p>
        </p:txBody>
      </p:sp>
      <p:cxnSp>
        <p:nvCxnSpPr>
          <p:cNvPr id="5" name="Rett pilkobling 4">
            <a:extLst>
              <a:ext uri="{FF2B5EF4-FFF2-40B4-BE49-F238E27FC236}">
                <a16:creationId xmlns:a16="http://schemas.microsoft.com/office/drawing/2014/main" id="{3F9EC32E-93FA-4332-A5BA-06C5948D78A1}"/>
              </a:ext>
            </a:extLst>
          </p:cNvPr>
          <p:cNvCxnSpPr>
            <a:cxnSpLocks/>
          </p:cNvCxnSpPr>
          <p:nvPr/>
        </p:nvCxnSpPr>
        <p:spPr>
          <a:xfrm flipV="1">
            <a:off x="6829504" y="2289976"/>
            <a:ext cx="5380" cy="3494476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3089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0C1AF59E-3484-445D-A1C7-18A1EFBD0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latin typeface="Verdana (headings)"/>
                <a:ea typeface="Verdana" panose="020B0604030504040204" pitchFamily="34" charset="0"/>
              </a:rPr>
              <a:t>Fordeler med samspillsmodellen</a:t>
            </a:r>
            <a:endParaRPr lang="nb-NO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24F542A-01E6-4558-89E0-E537A6958D58}"/>
              </a:ext>
            </a:extLst>
          </p:cNvPr>
          <p:cNvSpPr txBox="1">
            <a:spLocks/>
          </p:cNvSpPr>
          <p:nvPr/>
        </p:nvSpPr>
        <p:spPr>
          <a:xfrm>
            <a:off x="1011291" y="1025615"/>
            <a:ext cx="9866312" cy="5187459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deler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Økt konkurrans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fordi risiko reduseres og terskelen for å gi tilbud er lave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kere fremdrif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 tilbuds- og utviklingsfase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duserte kostnader ved å utnytte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reprenørenes og leverandørenes kompetans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tidlig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tydelig grad av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novasjon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nnen grønn bygging og energieffektivisering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Økt forutsigbarhet og redusert risiko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gjennom felles prosjektutviklingsfas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duserte kostnader pga.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elles insentiv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i gjennomføringsfas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duserte kostnader pga.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 organisasjo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duserer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fliktnivåe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dirty="0">
                <a:solidFill>
                  <a:srgbClr val="0C0C0C"/>
                </a:solidFill>
                <a:latin typeface="Verdana"/>
              </a:rPr>
              <a:t>Større </a:t>
            </a:r>
            <a:r>
              <a:rPr lang="nb-NO" sz="1400" u="sng" dirty="0">
                <a:solidFill>
                  <a:srgbClr val="0C0C0C"/>
                </a:solidFill>
                <a:latin typeface="Verdana"/>
              </a:rPr>
              <a:t>forutsigbarhet på sluttpri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ørre mulighet til å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ptimalisere prosjektet </a:t>
            </a:r>
            <a:r>
              <a:rPr kumimoji="0" lang="nb-NO" sz="1400" b="0" i="0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(samlokalisering og åpen bok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ørre mulighet for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yggherres medvirkning </a:t>
            </a:r>
            <a:r>
              <a:rPr kumimoji="0" lang="nb-NO" sz="1400" b="0" i="0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g enklere for 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kere å bidra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n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274A3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y prosjektmodell krever</a:t>
            </a:r>
            <a:r>
              <a:rPr kumimoji="0" lang="nb-NO" sz="14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ny kompetanse fra alle involverte parter</a:t>
            </a:r>
          </a:p>
        </p:txBody>
      </p:sp>
    </p:spTree>
    <p:extLst>
      <p:ext uri="{BB962C8B-B14F-4D97-AF65-F5344CB8AC3E}">
        <p14:creationId xmlns:p14="http://schemas.microsoft.com/office/powerpoint/2010/main" val="4466851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A89C31C-E7A0-4BE7-A823-8E6110028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imensjoner i samspill som gjennomføringsmodell</a:t>
            </a:r>
          </a:p>
        </p:txBody>
      </p:sp>
      <p:sp>
        <p:nvSpPr>
          <p:cNvPr id="3" name="Rektangel: avrundede hjørner 2">
            <a:extLst>
              <a:ext uri="{FF2B5EF4-FFF2-40B4-BE49-F238E27FC236}">
                <a16:creationId xmlns:a16="http://schemas.microsoft.com/office/drawing/2014/main" id="{E6F0695E-1FBB-462A-89DC-8211BCE78AD2}"/>
              </a:ext>
            </a:extLst>
          </p:cNvPr>
          <p:cNvSpPr/>
          <p:nvPr/>
        </p:nvSpPr>
        <p:spPr>
          <a:xfrm>
            <a:off x="10542540" y="1488979"/>
            <a:ext cx="1384991" cy="523219"/>
          </a:xfrm>
          <a:prstGeom prst="round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rakt</a:t>
            </a:r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D772A369-03F9-4DD8-A16C-C4641F9F7BDA}"/>
              </a:ext>
            </a:extLst>
          </p:cNvPr>
          <p:cNvSpPr/>
          <p:nvPr/>
        </p:nvSpPr>
        <p:spPr>
          <a:xfrm>
            <a:off x="541737" y="1906287"/>
            <a:ext cx="1384991" cy="523219"/>
          </a:xfrm>
          <a:prstGeom prst="round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ultur og ledelse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52F9AC05-36E4-42FD-A3AB-AE50135B0173}"/>
              </a:ext>
            </a:extLst>
          </p:cNvPr>
          <p:cNvSpPr/>
          <p:nvPr/>
        </p:nvSpPr>
        <p:spPr>
          <a:xfrm>
            <a:off x="10542539" y="5335514"/>
            <a:ext cx="1384991" cy="523219"/>
          </a:xfrm>
          <a:prstGeom prst="round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ess og styring</a:t>
            </a:r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2A592C3E-5EAB-4EC7-9402-BB5E0CC23E28}"/>
              </a:ext>
            </a:extLst>
          </p:cNvPr>
          <p:cNvGrpSpPr/>
          <p:nvPr/>
        </p:nvGrpSpPr>
        <p:grpSpPr>
          <a:xfrm>
            <a:off x="8561760" y="713240"/>
            <a:ext cx="1122546" cy="1108151"/>
            <a:chOff x="3455953" y="-261140"/>
            <a:chExt cx="1340526" cy="1405140"/>
          </a:xfrm>
          <a:solidFill>
            <a:schemeClr val="accent4"/>
          </a:solidFill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A4491BD3-239A-45C5-9428-6A9E338C5BA1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8" name="Ellipse 4">
              <a:extLst>
                <a:ext uri="{FF2B5EF4-FFF2-40B4-BE49-F238E27FC236}">
                  <a16:creationId xmlns:a16="http://schemas.microsoft.com/office/drawing/2014/main" id="{E45C4512-3E81-4618-8222-98EDA786F364}"/>
                </a:ext>
              </a:extLst>
            </p:cNvPr>
            <p:cNvSpPr txBox="1"/>
            <p:nvPr/>
          </p:nvSpPr>
          <p:spPr>
            <a:xfrm>
              <a:off x="3652268" y="102602"/>
              <a:ext cx="947896" cy="72421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dlig involvering</a:t>
              </a:r>
            </a:p>
          </p:txBody>
        </p:sp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ADBDA0BA-BCEB-4E8D-8883-3E0D5643D02D}"/>
              </a:ext>
            </a:extLst>
          </p:cNvPr>
          <p:cNvGrpSpPr/>
          <p:nvPr/>
        </p:nvGrpSpPr>
        <p:grpSpPr>
          <a:xfrm>
            <a:off x="9055840" y="1498448"/>
            <a:ext cx="1122546" cy="1108151"/>
            <a:chOff x="3455953" y="-261140"/>
            <a:chExt cx="1340526" cy="1405140"/>
          </a:xfrm>
          <a:solidFill>
            <a:schemeClr val="accent4"/>
          </a:solidFill>
        </p:grpSpPr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3610BF4C-E84E-487E-8690-1852143C4FE8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7" name="Ellipse 4">
              <a:extLst>
                <a:ext uri="{FF2B5EF4-FFF2-40B4-BE49-F238E27FC236}">
                  <a16:creationId xmlns:a16="http://schemas.microsoft.com/office/drawing/2014/main" id="{D32FBB85-D863-436A-B32A-7C1CDB7C1C4D}"/>
                </a:ext>
              </a:extLst>
            </p:cNvPr>
            <p:cNvSpPr txBox="1"/>
            <p:nvPr/>
          </p:nvSpPr>
          <p:spPr>
            <a:xfrm>
              <a:off x="3652268" y="29864"/>
              <a:ext cx="947896" cy="818748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elles vederlags-modell</a:t>
              </a:r>
            </a:p>
          </p:txBody>
        </p:sp>
      </p:grpSp>
      <p:grpSp>
        <p:nvGrpSpPr>
          <p:cNvPr id="18" name="Gruppe 17">
            <a:extLst>
              <a:ext uri="{FF2B5EF4-FFF2-40B4-BE49-F238E27FC236}">
                <a16:creationId xmlns:a16="http://schemas.microsoft.com/office/drawing/2014/main" id="{9AE6B2A6-C5E5-4513-B1D5-51DD4129048A}"/>
              </a:ext>
            </a:extLst>
          </p:cNvPr>
          <p:cNvGrpSpPr/>
          <p:nvPr/>
        </p:nvGrpSpPr>
        <p:grpSpPr>
          <a:xfrm>
            <a:off x="9256057" y="2375094"/>
            <a:ext cx="1122546" cy="1108151"/>
            <a:chOff x="3455953" y="-261140"/>
            <a:chExt cx="1340526" cy="1405140"/>
          </a:xfrm>
          <a:solidFill>
            <a:schemeClr val="accent4"/>
          </a:solidFill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941CC356-A320-4D2D-916D-21B6AF5907FB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20" name="Ellipse 4">
              <a:extLst>
                <a:ext uri="{FF2B5EF4-FFF2-40B4-BE49-F238E27FC236}">
                  <a16:creationId xmlns:a16="http://schemas.microsoft.com/office/drawing/2014/main" id="{803B1BF8-9E98-4421-8B70-85C20D9B561C}"/>
                </a:ext>
              </a:extLst>
            </p:cNvPr>
            <p:cNvSpPr txBox="1"/>
            <p:nvPr/>
          </p:nvSpPr>
          <p:spPr>
            <a:xfrm>
              <a:off x="3652268" y="39095"/>
              <a:ext cx="947896" cy="80951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elles gevinst og risiko</a:t>
              </a:r>
            </a:p>
          </p:txBody>
        </p:sp>
      </p:grp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92186C4E-E019-4C83-BE7D-0E15A93A426E}"/>
              </a:ext>
            </a:extLst>
          </p:cNvPr>
          <p:cNvGrpSpPr/>
          <p:nvPr/>
        </p:nvGrpSpPr>
        <p:grpSpPr>
          <a:xfrm>
            <a:off x="2887663" y="742659"/>
            <a:ext cx="1122546" cy="1108151"/>
            <a:chOff x="3455953" y="-261140"/>
            <a:chExt cx="1340526" cy="1405140"/>
          </a:xfrm>
          <a:solidFill>
            <a:schemeClr val="tx2"/>
          </a:solidFill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71AF325F-CAF9-4875-AF90-9F7FD27614C9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23" name="Ellipse 4">
              <a:extLst>
                <a:ext uri="{FF2B5EF4-FFF2-40B4-BE49-F238E27FC236}">
                  <a16:creationId xmlns:a16="http://schemas.microsoft.com/office/drawing/2014/main" id="{0EC96F78-8035-4A03-86AD-37E42D554FC0}"/>
                </a:ext>
              </a:extLst>
            </p:cNvPr>
            <p:cNvSpPr txBox="1"/>
            <p:nvPr/>
          </p:nvSpPr>
          <p:spPr>
            <a:xfrm>
              <a:off x="3652268" y="74663"/>
              <a:ext cx="947896" cy="76298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retnings-etikk</a:t>
              </a:r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AD285097-C9E9-4AF8-87BC-258CEB271C11}"/>
              </a:ext>
            </a:extLst>
          </p:cNvPr>
          <p:cNvGrpSpPr/>
          <p:nvPr/>
        </p:nvGrpSpPr>
        <p:grpSpPr>
          <a:xfrm>
            <a:off x="2383309" y="1492794"/>
            <a:ext cx="1122546" cy="1108151"/>
            <a:chOff x="3455953" y="-261140"/>
            <a:chExt cx="1340526" cy="1405140"/>
          </a:xfrm>
          <a:solidFill>
            <a:schemeClr val="tx2"/>
          </a:solidFill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25132C2C-9FA2-46E1-95F4-82545B054BC6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26" name="Ellipse 4">
              <a:extLst>
                <a:ext uri="{FF2B5EF4-FFF2-40B4-BE49-F238E27FC236}">
                  <a16:creationId xmlns:a16="http://schemas.microsoft.com/office/drawing/2014/main" id="{14C8E06C-8652-4FF4-A55A-320ADA538F34}"/>
                </a:ext>
              </a:extLst>
            </p:cNvPr>
            <p:cNvSpPr txBox="1"/>
            <p:nvPr/>
          </p:nvSpPr>
          <p:spPr>
            <a:xfrm>
              <a:off x="3652268" y="-4009"/>
              <a:ext cx="947896" cy="78303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Åpenhet og tillit</a:t>
              </a: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D7727DDE-B85C-495B-BF27-59026AE411A1}"/>
              </a:ext>
            </a:extLst>
          </p:cNvPr>
          <p:cNvGrpSpPr/>
          <p:nvPr/>
        </p:nvGrpSpPr>
        <p:grpSpPr>
          <a:xfrm>
            <a:off x="2246469" y="2351445"/>
            <a:ext cx="1122546" cy="1108151"/>
            <a:chOff x="3455953" y="-261140"/>
            <a:chExt cx="1340526" cy="1405140"/>
          </a:xfrm>
          <a:solidFill>
            <a:schemeClr val="tx2"/>
          </a:solidFill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52FCEFE9-B072-47DE-B5D6-D46F973F711C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29" name="Ellipse 4">
              <a:extLst>
                <a:ext uri="{FF2B5EF4-FFF2-40B4-BE49-F238E27FC236}">
                  <a16:creationId xmlns:a16="http://schemas.microsoft.com/office/drawing/2014/main" id="{C11E5F60-A5C7-4967-B5F8-D56C8B57D983}"/>
                </a:ext>
              </a:extLst>
            </p:cNvPr>
            <p:cNvSpPr txBox="1"/>
            <p:nvPr/>
          </p:nvSpPr>
          <p:spPr>
            <a:xfrm>
              <a:off x="3652268" y="38030"/>
              <a:ext cx="947896" cy="75257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derskap</a:t>
              </a:r>
            </a:p>
          </p:txBody>
        </p:sp>
      </p:grpSp>
      <p:grpSp>
        <p:nvGrpSpPr>
          <p:cNvPr id="30" name="Gruppe 29">
            <a:extLst>
              <a:ext uri="{FF2B5EF4-FFF2-40B4-BE49-F238E27FC236}">
                <a16:creationId xmlns:a16="http://schemas.microsoft.com/office/drawing/2014/main" id="{1FB30A7E-8426-4667-A443-3645EFB31FC1}"/>
              </a:ext>
            </a:extLst>
          </p:cNvPr>
          <p:cNvGrpSpPr/>
          <p:nvPr/>
        </p:nvGrpSpPr>
        <p:grpSpPr>
          <a:xfrm>
            <a:off x="8963070" y="3482580"/>
            <a:ext cx="1122546" cy="1108151"/>
            <a:chOff x="3455953" y="-261140"/>
            <a:chExt cx="1340526" cy="1405140"/>
          </a:xfrm>
          <a:solidFill>
            <a:schemeClr val="accent1"/>
          </a:solidFill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EB30397D-9C6C-4299-BB77-4FFCBB34148D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32" name="Ellipse 4">
              <a:extLst>
                <a:ext uri="{FF2B5EF4-FFF2-40B4-BE49-F238E27FC236}">
                  <a16:creationId xmlns:a16="http://schemas.microsoft.com/office/drawing/2014/main" id="{2C222AF9-0902-4D13-939E-F4841087B5D9}"/>
                </a:ext>
              </a:extLst>
            </p:cNvPr>
            <p:cNvSpPr txBox="1"/>
            <p:nvPr/>
          </p:nvSpPr>
          <p:spPr>
            <a:xfrm>
              <a:off x="3652268" y="-55362"/>
              <a:ext cx="947896" cy="84296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am-lokalisering</a:t>
              </a:r>
            </a:p>
          </p:txBody>
        </p:sp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468B12E5-FB55-44FC-AAEE-F9819B55603B}"/>
              </a:ext>
            </a:extLst>
          </p:cNvPr>
          <p:cNvGrpSpPr/>
          <p:nvPr/>
        </p:nvGrpSpPr>
        <p:grpSpPr>
          <a:xfrm>
            <a:off x="5776342" y="1367504"/>
            <a:ext cx="1141897" cy="1071969"/>
            <a:chOff x="3455953" y="-261140"/>
            <a:chExt cx="1340526" cy="1405140"/>
          </a:xfrm>
          <a:noFill/>
        </p:grpSpPr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B627CB77-CDE2-4F59-8594-A6573942F0B9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sp>
        <p:sp>
          <p:nvSpPr>
            <p:cNvPr id="41" name="Ellipse 4">
              <a:extLst>
                <a:ext uri="{FF2B5EF4-FFF2-40B4-BE49-F238E27FC236}">
                  <a16:creationId xmlns:a16="http://schemas.microsoft.com/office/drawing/2014/main" id="{24F2C888-5F84-4BD9-9E28-8F873DB2F65D}"/>
                </a:ext>
              </a:extLst>
            </p:cNvPr>
            <p:cNvSpPr txBox="1"/>
            <p:nvPr/>
          </p:nvSpPr>
          <p:spPr>
            <a:xfrm>
              <a:off x="3652268" y="-55362"/>
              <a:ext cx="947896" cy="99358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uker</a:t>
              </a:r>
            </a:p>
          </p:txBody>
        </p:sp>
      </p:grp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6043DB84-2507-47C3-ABE0-26705065423D}"/>
              </a:ext>
            </a:extLst>
          </p:cNvPr>
          <p:cNvGrpSpPr/>
          <p:nvPr/>
        </p:nvGrpSpPr>
        <p:grpSpPr>
          <a:xfrm>
            <a:off x="4989417" y="3067565"/>
            <a:ext cx="1383100" cy="1432519"/>
            <a:chOff x="3455953" y="-261140"/>
            <a:chExt cx="1340526" cy="1405140"/>
          </a:xfrm>
          <a:solidFill>
            <a:srgbClr val="5B9BD5">
              <a:lumMod val="20000"/>
              <a:lumOff val="80000"/>
            </a:srgbClr>
          </a:solidFill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28AA9C93-C100-477D-B120-84CA713A3092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44" name="Ellipse 4">
              <a:extLst>
                <a:ext uri="{FF2B5EF4-FFF2-40B4-BE49-F238E27FC236}">
                  <a16:creationId xmlns:a16="http://schemas.microsoft.com/office/drawing/2014/main" id="{4FFD4E96-4D96-448B-A6E0-65DD433E282D}"/>
                </a:ext>
              </a:extLst>
            </p:cNvPr>
            <p:cNvSpPr txBox="1"/>
            <p:nvPr/>
          </p:nvSpPr>
          <p:spPr>
            <a:xfrm>
              <a:off x="3652268" y="-55362"/>
              <a:ext cx="947896" cy="99358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ådgiver</a:t>
              </a:r>
            </a:p>
          </p:txBody>
        </p:sp>
      </p:grpSp>
      <p:grpSp>
        <p:nvGrpSpPr>
          <p:cNvPr id="45" name="Gruppe 44">
            <a:extLst>
              <a:ext uri="{FF2B5EF4-FFF2-40B4-BE49-F238E27FC236}">
                <a16:creationId xmlns:a16="http://schemas.microsoft.com/office/drawing/2014/main" id="{6F6D1BD3-FB33-4DCB-A30C-9F2ACB73F5CA}"/>
              </a:ext>
            </a:extLst>
          </p:cNvPr>
          <p:cNvGrpSpPr/>
          <p:nvPr/>
        </p:nvGrpSpPr>
        <p:grpSpPr>
          <a:xfrm>
            <a:off x="4874406" y="1820799"/>
            <a:ext cx="1383100" cy="1432519"/>
            <a:chOff x="3455953" y="-261140"/>
            <a:chExt cx="1340526" cy="1405140"/>
          </a:xfrm>
          <a:solidFill>
            <a:srgbClr val="44546A">
              <a:lumMod val="20000"/>
              <a:lumOff val="80000"/>
            </a:srgbClr>
          </a:solidFill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BC87AAD3-11A8-4EF4-B892-5610B7EAFAC9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47" name="Ellipse 4">
              <a:extLst>
                <a:ext uri="{FF2B5EF4-FFF2-40B4-BE49-F238E27FC236}">
                  <a16:creationId xmlns:a16="http://schemas.microsoft.com/office/drawing/2014/main" id="{25E416CB-ABD4-49EF-B77D-868745FE9E76}"/>
                </a:ext>
              </a:extLst>
            </p:cNvPr>
            <p:cNvSpPr txBox="1"/>
            <p:nvPr/>
          </p:nvSpPr>
          <p:spPr>
            <a:xfrm>
              <a:off x="3652268" y="-55362"/>
              <a:ext cx="947896" cy="99358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yggherre</a:t>
              </a:r>
            </a:p>
          </p:txBody>
        </p:sp>
      </p:grp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80EE565A-1AA6-4CB9-BF8F-31FEE4A1F14B}"/>
              </a:ext>
            </a:extLst>
          </p:cNvPr>
          <p:cNvGrpSpPr/>
          <p:nvPr/>
        </p:nvGrpSpPr>
        <p:grpSpPr>
          <a:xfrm>
            <a:off x="6596403" y="3169272"/>
            <a:ext cx="1096559" cy="1108150"/>
            <a:chOff x="3455953" y="-261140"/>
            <a:chExt cx="1340526" cy="1405140"/>
          </a:xfrm>
          <a:solidFill>
            <a:srgbClr val="A5A5A5">
              <a:lumMod val="40000"/>
              <a:lumOff val="60000"/>
            </a:srgbClr>
          </a:solidFill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3FF98E91-D0D0-410D-8528-E064BA6EC787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</p:sp>
        <p:sp>
          <p:nvSpPr>
            <p:cNvPr id="50" name="Ellipse 4">
              <a:extLst>
                <a:ext uri="{FF2B5EF4-FFF2-40B4-BE49-F238E27FC236}">
                  <a16:creationId xmlns:a16="http://schemas.microsoft.com/office/drawing/2014/main" id="{8306B8DC-D060-4BDD-B44F-2C6606C0A678}"/>
                </a:ext>
              </a:extLst>
            </p:cNvPr>
            <p:cNvSpPr txBox="1"/>
            <p:nvPr/>
          </p:nvSpPr>
          <p:spPr>
            <a:xfrm>
              <a:off x="3707189" y="20975"/>
              <a:ext cx="947896" cy="99358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der-leverandører</a:t>
              </a:r>
            </a:p>
          </p:txBody>
        </p:sp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6494A51D-E738-4478-A0DB-96A6817B55B4}"/>
              </a:ext>
            </a:extLst>
          </p:cNvPr>
          <p:cNvGrpSpPr/>
          <p:nvPr/>
        </p:nvGrpSpPr>
        <p:grpSpPr>
          <a:xfrm>
            <a:off x="5746588" y="2408413"/>
            <a:ext cx="1383100" cy="1432519"/>
            <a:chOff x="3455953" y="-261140"/>
            <a:chExt cx="1340526" cy="1405140"/>
          </a:xfrm>
          <a:solidFill>
            <a:srgbClr val="A5A5A5"/>
          </a:solidFill>
        </p:grpSpPr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4BC47312-A9C1-4F03-B75C-B1B3E10841A8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53" name="Ellipse 4">
              <a:extLst>
                <a:ext uri="{FF2B5EF4-FFF2-40B4-BE49-F238E27FC236}">
                  <a16:creationId xmlns:a16="http://schemas.microsoft.com/office/drawing/2014/main" id="{5BDAB2FA-4F65-4773-9967-C697254827A2}"/>
                </a:ext>
              </a:extLst>
            </p:cNvPr>
            <p:cNvSpPr txBox="1"/>
            <p:nvPr/>
          </p:nvSpPr>
          <p:spPr>
            <a:xfrm>
              <a:off x="3652268" y="-55362"/>
              <a:ext cx="947896" cy="99358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1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treprenør</a:t>
              </a:r>
            </a:p>
          </p:txBody>
        </p:sp>
      </p:grpSp>
      <p:sp>
        <p:nvSpPr>
          <p:cNvPr id="54" name="Ellipse 53" descr="Lag">
            <a:extLst>
              <a:ext uri="{FF2B5EF4-FFF2-40B4-BE49-F238E27FC236}">
                <a16:creationId xmlns:a16="http://schemas.microsoft.com/office/drawing/2014/main" id="{06E1E29F-1B2C-4EE5-956D-1BBFEED225FD}"/>
              </a:ext>
            </a:extLst>
          </p:cNvPr>
          <p:cNvSpPr/>
          <p:nvPr/>
        </p:nvSpPr>
        <p:spPr>
          <a:xfrm>
            <a:off x="5405638" y="2765869"/>
            <a:ext cx="677691" cy="683041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l="-1000" r="-1000"/>
            </a:stretch>
          </a:blip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</p:sp>
      <p:cxnSp>
        <p:nvCxnSpPr>
          <p:cNvPr id="55" name="Rett linje 54">
            <a:extLst>
              <a:ext uri="{FF2B5EF4-FFF2-40B4-BE49-F238E27FC236}">
                <a16:creationId xmlns:a16="http://schemas.microsoft.com/office/drawing/2014/main" id="{7DA01774-0CAB-44EE-8532-F16ED40A2BCE}"/>
              </a:ext>
            </a:extLst>
          </p:cNvPr>
          <p:cNvCxnSpPr>
            <a:cxnSpLocks/>
          </p:cNvCxnSpPr>
          <p:nvPr/>
        </p:nvCxnSpPr>
        <p:spPr>
          <a:xfrm>
            <a:off x="3943022" y="1695577"/>
            <a:ext cx="345417" cy="261849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57" name="Rett linje 56">
            <a:extLst>
              <a:ext uri="{FF2B5EF4-FFF2-40B4-BE49-F238E27FC236}">
                <a16:creationId xmlns:a16="http://schemas.microsoft.com/office/drawing/2014/main" id="{24B59358-45B3-4B8B-B2F4-676A4FD9FE59}"/>
              </a:ext>
            </a:extLst>
          </p:cNvPr>
          <p:cNvCxnSpPr>
            <a:cxnSpLocks/>
          </p:cNvCxnSpPr>
          <p:nvPr/>
        </p:nvCxnSpPr>
        <p:spPr>
          <a:xfrm flipH="1" flipV="1">
            <a:off x="8122936" y="3708416"/>
            <a:ext cx="707252" cy="164628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58" name="Rett linje 57">
            <a:extLst>
              <a:ext uri="{FF2B5EF4-FFF2-40B4-BE49-F238E27FC236}">
                <a16:creationId xmlns:a16="http://schemas.microsoft.com/office/drawing/2014/main" id="{42A6760A-7D09-4F79-9E57-D397CAC5DAC0}"/>
              </a:ext>
            </a:extLst>
          </p:cNvPr>
          <p:cNvCxnSpPr>
            <a:cxnSpLocks/>
          </p:cNvCxnSpPr>
          <p:nvPr/>
        </p:nvCxnSpPr>
        <p:spPr>
          <a:xfrm flipH="1" flipV="1">
            <a:off x="7937575" y="4131187"/>
            <a:ext cx="686944" cy="240937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59" name="Rett linje 58">
            <a:extLst>
              <a:ext uri="{FF2B5EF4-FFF2-40B4-BE49-F238E27FC236}">
                <a16:creationId xmlns:a16="http://schemas.microsoft.com/office/drawing/2014/main" id="{BD0230D7-1CEC-4E7F-8713-A038D55EED49}"/>
              </a:ext>
            </a:extLst>
          </p:cNvPr>
          <p:cNvCxnSpPr>
            <a:cxnSpLocks/>
          </p:cNvCxnSpPr>
          <p:nvPr/>
        </p:nvCxnSpPr>
        <p:spPr>
          <a:xfrm flipH="1" flipV="1">
            <a:off x="3514978" y="2305177"/>
            <a:ext cx="631466" cy="50132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0" name="Rett linje 59">
            <a:extLst>
              <a:ext uri="{FF2B5EF4-FFF2-40B4-BE49-F238E27FC236}">
                <a16:creationId xmlns:a16="http://schemas.microsoft.com/office/drawing/2014/main" id="{EBFFAB6E-0194-48B7-B296-DF92D92E3A12}"/>
              </a:ext>
            </a:extLst>
          </p:cNvPr>
          <p:cNvCxnSpPr>
            <a:cxnSpLocks/>
          </p:cNvCxnSpPr>
          <p:nvPr/>
        </p:nvCxnSpPr>
        <p:spPr>
          <a:xfrm flipV="1">
            <a:off x="3496857" y="2831625"/>
            <a:ext cx="649587" cy="124285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1" name="Rett linje 60">
            <a:extLst>
              <a:ext uri="{FF2B5EF4-FFF2-40B4-BE49-F238E27FC236}">
                <a16:creationId xmlns:a16="http://schemas.microsoft.com/office/drawing/2014/main" id="{0B9337A3-328D-4AEE-9DDE-4CC30CE1281D}"/>
              </a:ext>
            </a:extLst>
          </p:cNvPr>
          <p:cNvCxnSpPr>
            <a:cxnSpLocks/>
          </p:cNvCxnSpPr>
          <p:nvPr/>
        </p:nvCxnSpPr>
        <p:spPr>
          <a:xfrm flipH="1">
            <a:off x="7893014" y="1573542"/>
            <a:ext cx="596781" cy="199902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2" name="Rett linje 61">
            <a:extLst>
              <a:ext uri="{FF2B5EF4-FFF2-40B4-BE49-F238E27FC236}">
                <a16:creationId xmlns:a16="http://schemas.microsoft.com/office/drawing/2014/main" id="{DC145F39-BD2C-479C-8C38-51FA585C216B}"/>
              </a:ext>
            </a:extLst>
          </p:cNvPr>
          <p:cNvCxnSpPr>
            <a:cxnSpLocks/>
          </p:cNvCxnSpPr>
          <p:nvPr/>
        </p:nvCxnSpPr>
        <p:spPr>
          <a:xfrm flipH="1">
            <a:off x="8108701" y="2213626"/>
            <a:ext cx="783372" cy="199256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3" name="Rett linje 62">
            <a:extLst>
              <a:ext uri="{FF2B5EF4-FFF2-40B4-BE49-F238E27FC236}">
                <a16:creationId xmlns:a16="http://schemas.microsoft.com/office/drawing/2014/main" id="{6D555E3E-BD5A-46E7-A594-A656B2871ECC}"/>
              </a:ext>
            </a:extLst>
          </p:cNvPr>
          <p:cNvCxnSpPr>
            <a:cxnSpLocks/>
          </p:cNvCxnSpPr>
          <p:nvPr/>
        </p:nvCxnSpPr>
        <p:spPr>
          <a:xfrm flipH="1">
            <a:off x="8268485" y="2812631"/>
            <a:ext cx="686226" cy="78005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4" name="Rett linje 63">
            <a:extLst>
              <a:ext uri="{FF2B5EF4-FFF2-40B4-BE49-F238E27FC236}">
                <a16:creationId xmlns:a16="http://schemas.microsoft.com/office/drawing/2014/main" id="{74F323E4-E59F-4458-8188-BF314FF5A2A3}"/>
              </a:ext>
            </a:extLst>
          </p:cNvPr>
          <p:cNvCxnSpPr>
            <a:cxnSpLocks/>
          </p:cNvCxnSpPr>
          <p:nvPr/>
        </p:nvCxnSpPr>
        <p:spPr>
          <a:xfrm flipH="1">
            <a:off x="3923522" y="4266418"/>
            <a:ext cx="687784" cy="585450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5" name="Rett linje 64">
            <a:extLst>
              <a:ext uri="{FF2B5EF4-FFF2-40B4-BE49-F238E27FC236}">
                <a16:creationId xmlns:a16="http://schemas.microsoft.com/office/drawing/2014/main" id="{1EC394D9-8E9F-4E90-863E-665DBEDFEE20}"/>
              </a:ext>
            </a:extLst>
          </p:cNvPr>
          <p:cNvCxnSpPr>
            <a:cxnSpLocks/>
          </p:cNvCxnSpPr>
          <p:nvPr/>
        </p:nvCxnSpPr>
        <p:spPr>
          <a:xfrm flipH="1">
            <a:off x="4656849" y="4644340"/>
            <a:ext cx="332568" cy="404272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69" name="Rett linje 68">
            <a:extLst>
              <a:ext uri="{FF2B5EF4-FFF2-40B4-BE49-F238E27FC236}">
                <a16:creationId xmlns:a16="http://schemas.microsoft.com/office/drawing/2014/main" id="{0423DF83-C520-4A75-9AAB-EB28B6056AE6}"/>
              </a:ext>
            </a:extLst>
          </p:cNvPr>
          <p:cNvCxnSpPr>
            <a:cxnSpLocks/>
          </p:cNvCxnSpPr>
          <p:nvPr/>
        </p:nvCxnSpPr>
        <p:spPr>
          <a:xfrm>
            <a:off x="7692962" y="4462751"/>
            <a:ext cx="574551" cy="327706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sp>
        <p:nvSpPr>
          <p:cNvPr id="70" name="Ellipse 69">
            <a:extLst>
              <a:ext uri="{FF2B5EF4-FFF2-40B4-BE49-F238E27FC236}">
                <a16:creationId xmlns:a16="http://schemas.microsoft.com/office/drawing/2014/main" id="{00930569-FB11-41CF-98FC-17E746DA4663}"/>
              </a:ext>
            </a:extLst>
          </p:cNvPr>
          <p:cNvSpPr/>
          <p:nvPr/>
        </p:nvSpPr>
        <p:spPr>
          <a:xfrm>
            <a:off x="4398112" y="1235040"/>
            <a:ext cx="3635102" cy="3632861"/>
          </a:xfrm>
          <a:prstGeom prst="ellips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TextBox 1">
            <a:extLst>
              <a:ext uri="{FF2B5EF4-FFF2-40B4-BE49-F238E27FC236}">
                <a16:creationId xmlns:a16="http://schemas.microsoft.com/office/drawing/2014/main" id="{0652B5CB-85FA-4992-B8C4-61B87EED5337}"/>
              </a:ext>
            </a:extLst>
          </p:cNvPr>
          <p:cNvSpPr txBox="1"/>
          <p:nvPr/>
        </p:nvSpPr>
        <p:spPr>
          <a:xfrm flipH="1">
            <a:off x="9519707" y="5968416"/>
            <a:ext cx="25839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ilde: Marstrand AS</a:t>
            </a:r>
          </a:p>
        </p:txBody>
      </p:sp>
      <p:sp>
        <p:nvSpPr>
          <p:cNvPr id="79" name="Rektangel: avrundede hjørner 78">
            <a:extLst>
              <a:ext uri="{FF2B5EF4-FFF2-40B4-BE49-F238E27FC236}">
                <a16:creationId xmlns:a16="http://schemas.microsoft.com/office/drawing/2014/main" id="{79C1850B-FC15-42D9-81DB-F48BC5856A59}"/>
              </a:ext>
            </a:extLst>
          </p:cNvPr>
          <p:cNvSpPr/>
          <p:nvPr/>
        </p:nvSpPr>
        <p:spPr>
          <a:xfrm>
            <a:off x="537082" y="5334177"/>
            <a:ext cx="1384991" cy="523219"/>
          </a:xfrm>
          <a:prstGeom prst="round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ganisasjon</a:t>
            </a:r>
          </a:p>
        </p:txBody>
      </p:sp>
      <p:grpSp>
        <p:nvGrpSpPr>
          <p:cNvPr id="80" name="Gruppe 79">
            <a:extLst>
              <a:ext uri="{FF2B5EF4-FFF2-40B4-BE49-F238E27FC236}">
                <a16:creationId xmlns:a16="http://schemas.microsoft.com/office/drawing/2014/main" id="{C2FCD0E3-7C69-412B-AC71-5D135E3AC10B}"/>
              </a:ext>
            </a:extLst>
          </p:cNvPr>
          <p:cNvGrpSpPr/>
          <p:nvPr/>
        </p:nvGrpSpPr>
        <p:grpSpPr>
          <a:xfrm>
            <a:off x="8655215" y="4186169"/>
            <a:ext cx="1122546" cy="1108151"/>
            <a:chOff x="3455953" y="-261140"/>
            <a:chExt cx="1340526" cy="1405140"/>
          </a:xfrm>
          <a:solidFill>
            <a:schemeClr val="accent1"/>
          </a:solidFill>
        </p:grpSpPr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6ACFA0E8-CD5A-45ED-912D-69EFFBF0F334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82" name="Ellipse 4">
              <a:extLst>
                <a:ext uri="{FF2B5EF4-FFF2-40B4-BE49-F238E27FC236}">
                  <a16:creationId xmlns:a16="http://schemas.microsoft.com/office/drawing/2014/main" id="{B0421169-37CC-43F1-8E0F-4A026500FDDA}"/>
                </a:ext>
              </a:extLst>
            </p:cNvPr>
            <p:cNvSpPr txBox="1"/>
            <p:nvPr/>
          </p:nvSpPr>
          <p:spPr>
            <a:xfrm>
              <a:off x="3652268" y="-4826"/>
              <a:ext cx="947896" cy="821499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tegrerte systemer</a:t>
              </a:r>
            </a:p>
          </p:txBody>
        </p:sp>
      </p:grpSp>
      <p:grpSp>
        <p:nvGrpSpPr>
          <p:cNvPr id="33" name="Gruppe 32">
            <a:extLst>
              <a:ext uri="{FF2B5EF4-FFF2-40B4-BE49-F238E27FC236}">
                <a16:creationId xmlns:a16="http://schemas.microsoft.com/office/drawing/2014/main" id="{D7E65001-4B63-4162-9369-175D655222EA}"/>
              </a:ext>
            </a:extLst>
          </p:cNvPr>
          <p:cNvGrpSpPr/>
          <p:nvPr/>
        </p:nvGrpSpPr>
        <p:grpSpPr>
          <a:xfrm>
            <a:off x="8268916" y="4826382"/>
            <a:ext cx="1122546" cy="1108151"/>
            <a:chOff x="3455953" y="-261140"/>
            <a:chExt cx="1340526" cy="1405140"/>
          </a:xfrm>
          <a:solidFill>
            <a:schemeClr val="accent1"/>
          </a:solidFill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7E3EFAE6-AAD5-4D62-9774-0E6B628F3FD0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35" name="Ellipse 4">
              <a:extLst>
                <a:ext uri="{FF2B5EF4-FFF2-40B4-BE49-F238E27FC236}">
                  <a16:creationId xmlns:a16="http://schemas.microsoft.com/office/drawing/2014/main" id="{E8776D51-085C-470A-8617-6607962211BF}"/>
                </a:ext>
              </a:extLst>
            </p:cNvPr>
            <p:cNvSpPr txBox="1"/>
            <p:nvPr/>
          </p:nvSpPr>
          <p:spPr>
            <a:xfrm>
              <a:off x="3652267" y="26902"/>
              <a:ext cx="947896" cy="812992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DC</a:t>
              </a:r>
            </a:p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n</a:t>
              </a:r>
            </a:p>
          </p:txBody>
        </p:sp>
      </p:grpSp>
      <p:grpSp>
        <p:nvGrpSpPr>
          <p:cNvPr id="71" name="Gruppe 70">
            <a:extLst>
              <a:ext uri="{FF2B5EF4-FFF2-40B4-BE49-F238E27FC236}">
                <a16:creationId xmlns:a16="http://schemas.microsoft.com/office/drawing/2014/main" id="{00ECD114-D15A-479B-9637-350EA8990C15}"/>
              </a:ext>
            </a:extLst>
          </p:cNvPr>
          <p:cNvGrpSpPr/>
          <p:nvPr/>
        </p:nvGrpSpPr>
        <p:grpSpPr>
          <a:xfrm>
            <a:off x="7453820" y="5011562"/>
            <a:ext cx="1122546" cy="1108151"/>
            <a:chOff x="3455953" y="-261140"/>
            <a:chExt cx="1340526" cy="1405140"/>
          </a:xfrm>
          <a:solidFill>
            <a:schemeClr val="accent1"/>
          </a:solidFill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9DB75C29-269F-443A-AA41-E897EDF06D39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73" name="Ellipse 4">
              <a:extLst>
                <a:ext uri="{FF2B5EF4-FFF2-40B4-BE49-F238E27FC236}">
                  <a16:creationId xmlns:a16="http://schemas.microsoft.com/office/drawing/2014/main" id="{BF882BAD-C172-4250-880E-8C56D81A0C47}"/>
                </a:ext>
              </a:extLst>
            </p:cNvPr>
            <p:cNvSpPr txBox="1"/>
            <p:nvPr/>
          </p:nvSpPr>
          <p:spPr>
            <a:xfrm>
              <a:off x="3652268" y="-4826"/>
              <a:ext cx="947896" cy="821499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sjekt-styring (fremdrift/ kostnad)</a:t>
              </a:r>
            </a:p>
          </p:txBody>
        </p:sp>
      </p:grpSp>
      <p:cxnSp>
        <p:nvCxnSpPr>
          <p:cNvPr id="83" name="Rett linje 82">
            <a:extLst>
              <a:ext uri="{FF2B5EF4-FFF2-40B4-BE49-F238E27FC236}">
                <a16:creationId xmlns:a16="http://schemas.microsoft.com/office/drawing/2014/main" id="{85672C9C-D9AE-42DA-ADF7-F6F8823AEE5B}"/>
              </a:ext>
            </a:extLst>
          </p:cNvPr>
          <p:cNvCxnSpPr>
            <a:cxnSpLocks/>
          </p:cNvCxnSpPr>
          <p:nvPr/>
        </p:nvCxnSpPr>
        <p:spPr>
          <a:xfrm flipH="1">
            <a:off x="3440690" y="3453164"/>
            <a:ext cx="793081" cy="279778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cxnSp>
        <p:nvCxnSpPr>
          <p:cNvPr id="84" name="Rett linje 83">
            <a:extLst>
              <a:ext uri="{FF2B5EF4-FFF2-40B4-BE49-F238E27FC236}">
                <a16:creationId xmlns:a16="http://schemas.microsoft.com/office/drawing/2014/main" id="{0597C784-AA98-4EE5-87C0-DD818C1BA734}"/>
              </a:ext>
            </a:extLst>
          </p:cNvPr>
          <p:cNvCxnSpPr>
            <a:cxnSpLocks/>
          </p:cNvCxnSpPr>
          <p:nvPr/>
        </p:nvCxnSpPr>
        <p:spPr>
          <a:xfrm>
            <a:off x="7327900" y="4740244"/>
            <a:ext cx="289575" cy="304518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  <p:grpSp>
        <p:nvGrpSpPr>
          <p:cNvPr id="9" name="Gruppe 8">
            <a:extLst>
              <a:ext uri="{FF2B5EF4-FFF2-40B4-BE49-F238E27FC236}">
                <a16:creationId xmlns:a16="http://schemas.microsoft.com/office/drawing/2014/main" id="{3A90DB9F-C9C9-41C9-8255-9DD5FE69FA07}"/>
              </a:ext>
            </a:extLst>
          </p:cNvPr>
          <p:cNvGrpSpPr/>
          <p:nvPr/>
        </p:nvGrpSpPr>
        <p:grpSpPr>
          <a:xfrm>
            <a:off x="3094403" y="4826382"/>
            <a:ext cx="1122546" cy="1108151"/>
            <a:chOff x="3455953" y="-261140"/>
            <a:chExt cx="1340526" cy="1405140"/>
          </a:xfrm>
          <a:solidFill>
            <a:schemeClr val="accent3"/>
          </a:solidFill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AD5C4000-6EB8-4133-8901-52622D5D6FC8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1" name="Ellipse 4">
              <a:extLst>
                <a:ext uri="{FF2B5EF4-FFF2-40B4-BE49-F238E27FC236}">
                  <a16:creationId xmlns:a16="http://schemas.microsoft.com/office/drawing/2014/main" id="{3DB463C1-FBED-43E4-86D2-91AF54C8E6ED}"/>
                </a:ext>
              </a:extLst>
            </p:cNvPr>
            <p:cNvSpPr txBox="1"/>
            <p:nvPr/>
          </p:nvSpPr>
          <p:spPr>
            <a:xfrm>
              <a:off x="3652268" y="84036"/>
              <a:ext cx="947896" cy="72421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srgbClr val="10456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elles mål</a:t>
              </a:r>
            </a:p>
          </p:txBody>
        </p:sp>
      </p:grp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E541F8BD-D0D0-480B-A207-A9B6B16884CE}"/>
              </a:ext>
            </a:extLst>
          </p:cNvPr>
          <p:cNvGrpSpPr/>
          <p:nvPr/>
        </p:nvGrpSpPr>
        <p:grpSpPr>
          <a:xfrm>
            <a:off x="3998545" y="5107834"/>
            <a:ext cx="1122546" cy="1108151"/>
            <a:chOff x="3455953" y="-261140"/>
            <a:chExt cx="1340526" cy="1405140"/>
          </a:xfrm>
          <a:solidFill>
            <a:schemeClr val="accent3"/>
          </a:solidFill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868FCB6D-58F3-4040-803E-0CE2D394DE38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14" name="Ellipse 4">
              <a:extLst>
                <a:ext uri="{FF2B5EF4-FFF2-40B4-BE49-F238E27FC236}">
                  <a16:creationId xmlns:a16="http://schemas.microsoft.com/office/drawing/2014/main" id="{4204328E-623A-4C34-A48B-983A2BBBDDD1}"/>
                </a:ext>
              </a:extLst>
            </p:cNvPr>
            <p:cNvSpPr txBox="1"/>
            <p:nvPr/>
          </p:nvSpPr>
          <p:spPr>
            <a:xfrm>
              <a:off x="3652268" y="34248"/>
              <a:ext cx="947896" cy="90397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srgbClr val="10456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elles organisasjon – uten doble funksjoner</a:t>
              </a:r>
            </a:p>
          </p:txBody>
        </p:sp>
      </p:grpSp>
      <p:grpSp>
        <p:nvGrpSpPr>
          <p:cNvPr id="85" name="Gruppe 84">
            <a:extLst>
              <a:ext uri="{FF2B5EF4-FFF2-40B4-BE49-F238E27FC236}">
                <a16:creationId xmlns:a16="http://schemas.microsoft.com/office/drawing/2014/main" id="{26FAA3E8-F90D-4B96-8AA1-4BEFE01AC87F}"/>
              </a:ext>
            </a:extLst>
          </p:cNvPr>
          <p:cNvGrpSpPr/>
          <p:nvPr/>
        </p:nvGrpSpPr>
        <p:grpSpPr>
          <a:xfrm>
            <a:off x="2493121" y="4222659"/>
            <a:ext cx="1122546" cy="1108151"/>
            <a:chOff x="3455953" y="-261140"/>
            <a:chExt cx="1340526" cy="1405140"/>
          </a:xfrm>
          <a:solidFill>
            <a:schemeClr val="accent3"/>
          </a:solidFill>
        </p:grpSpPr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493666A4-3EBA-4C4D-AD99-CE13E9576E34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87" name="Ellipse 4">
              <a:extLst>
                <a:ext uri="{FF2B5EF4-FFF2-40B4-BE49-F238E27FC236}">
                  <a16:creationId xmlns:a16="http://schemas.microsoft.com/office/drawing/2014/main" id="{AD48B60C-1AA0-468F-B7F3-BBE485A43EC1}"/>
                </a:ext>
              </a:extLst>
            </p:cNvPr>
            <p:cNvSpPr txBox="1"/>
            <p:nvPr/>
          </p:nvSpPr>
          <p:spPr>
            <a:xfrm>
              <a:off x="3652267" y="26902"/>
              <a:ext cx="947896" cy="812992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srgbClr val="10456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sjekt-ledelse</a:t>
              </a:r>
            </a:p>
          </p:txBody>
        </p:sp>
      </p:grpSp>
      <p:grpSp>
        <p:nvGrpSpPr>
          <p:cNvPr id="76" name="Gruppe 75">
            <a:extLst>
              <a:ext uri="{FF2B5EF4-FFF2-40B4-BE49-F238E27FC236}">
                <a16:creationId xmlns:a16="http://schemas.microsoft.com/office/drawing/2014/main" id="{40DEEC99-DAC9-46E5-929B-8739D8182099}"/>
              </a:ext>
            </a:extLst>
          </p:cNvPr>
          <p:cNvGrpSpPr/>
          <p:nvPr/>
        </p:nvGrpSpPr>
        <p:grpSpPr>
          <a:xfrm>
            <a:off x="2153091" y="3448910"/>
            <a:ext cx="1122546" cy="1108151"/>
            <a:chOff x="3455953" y="-261140"/>
            <a:chExt cx="1340526" cy="1405140"/>
          </a:xfrm>
          <a:solidFill>
            <a:schemeClr val="accent3"/>
          </a:solidFill>
        </p:grpSpPr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86CADB22-7345-491D-875F-89060249DD88}"/>
                </a:ext>
              </a:extLst>
            </p:cNvPr>
            <p:cNvSpPr/>
            <p:nvPr/>
          </p:nvSpPr>
          <p:spPr>
            <a:xfrm>
              <a:off x="3455953" y="-261140"/>
              <a:ext cx="1340526" cy="1405140"/>
            </a:xfrm>
            <a:prstGeom prst="ellipse">
              <a:avLst/>
            </a:prstGeom>
            <a:grpFill/>
            <a:ln w="12700" cap="flat" cmpd="sng" algn="ctr">
              <a:solidFill>
                <a:srgbClr val="E7E6E6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</p:sp>
        <p:sp>
          <p:nvSpPr>
            <p:cNvPr id="78" name="Ellipse 4">
              <a:extLst>
                <a:ext uri="{FF2B5EF4-FFF2-40B4-BE49-F238E27FC236}">
                  <a16:creationId xmlns:a16="http://schemas.microsoft.com/office/drawing/2014/main" id="{3F18E1E7-663E-4B79-BB0D-CD05F749DB3F}"/>
                </a:ext>
              </a:extLst>
            </p:cNvPr>
            <p:cNvSpPr txBox="1"/>
            <p:nvPr/>
          </p:nvSpPr>
          <p:spPr>
            <a:xfrm>
              <a:off x="3652267" y="26902"/>
              <a:ext cx="947896" cy="812992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100" b="0" i="0" u="none" strike="noStrike" kern="0" cap="none" spc="0" normalizeH="0" baseline="0" noProof="0">
                  <a:ln>
                    <a:noFill/>
                  </a:ln>
                  <a:solidFill>
                    <a:srgbClr val="104569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sjekt-eierstyring</a:t>
              </a:r>
            </a:p>
          </p:txBody>
        </p:sp>
      </p:grpSp>
      <p:cxnSp>
        <p:nvCxnSpPr>
          <p:cNvPr id="88" name="Rett linje 87">
            <a:extLst>
              <a:ext uri="{FF2B5EF4-FFF2-40B4-BE49-F238E27FC236}">
                <a16:creationId xmlns:a16="http://schemas.microsoft.com/office/drawing/2014/main" id="{F597CF80-AE68-481D-8D47-A33A74EBCDCC}"/>
              </a:ext>
            </a:extLst>
          </p:cNvPr>
          <p:cNvCxnSpPr>
            <a:cxnSpLocks/>
          </p:cNvCxnSpPr>
          <p:nvPr/>
        </p:nvCxnSpPr>
        <p:spPr>
          <a:xfrm flipH="1">
            <a:off x="3582708" y="3873044"/>
            <a:ext cx="747792" cy="484617"/>
          </a:xfrm>
          <a:prstGeom prst="line">
            <a:avLst/>
          </a:prstGeom>
          <a:noFill/>
          <a:ln w="6350" cap="flat" cmpd="sng" algn="ctr">
            <a:solidFill>
              <a:srgbClr val="44546A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6811459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945FA7EC-8719-4797-A495-FF16AE676D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Mennesker og team</a:t>
            </a:r>
          </a:p>
        </p:txBody>
      </p:sp>
    </p:spTree>
    <p:extLst>
      <p:ext uri="{BB962C8B-B14F-4D97-AF65-F5344CB8AC3E}">
        <p14:creationId xmlns:p14="http://schemas.microsoft.com/office/powerpoint/2010/main" val="30138849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A1B308D6-ED26-4A75-A353-7703ECB89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l syvende og sist handler suksessen om mennesker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AE782F3-239A-4C6E-9CEE-4B3FC16D56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7289" y="1477921"/>
            <a:ext cx="9118598" cy="4763266"/>
          </a:xfrm>
        </p:spPr>
        <p:txBody>
          <a:bodyPr/>
          <a:lstStyle/>
          <a:p>
            <a:r>
              <a:rPr lang="nb-NO" sz="1800" dirty="0"/>
              <a:t>Et prosjekts suksess står og faller på menneskene i prosjektet</a:t>
            </a:r>
          </a:p>
          <a:p>
            <a:r>
              <a:rPr lang="nb-NO" sz="1800" dirty="0"/>
              <a:t>Vi er forskjellige, men de grunnleggende behovene er ganske like</a:t>
            </a:r>
          </a:p>
          <a:p>
            <a:r>
              <a:rPr lang="nb-NO" sz="1800" dirty="0"/>
              <a:t>Hva skal til for at du er den beste utgaven av deg selv?</a:t>
            </a:r>
          </a:p>
          <a:p>
            <a:pPr marL="285750" indent="-285750"/>
            <a:r>
              <a:rPr lang="nb-NO" sz="1800" dirty="0"/>
              <a:t>En vanlig utfordring i samarbeid mellom organisasjoner er at man ser på «motpart» som en organisasjon, ikke et menneske</a:t>
            </a:r>
          </a:p>
          <a:p>
            <a:pPr marL="285750" indent="-285750"/>
            <a:r>
              <a:rPr lang="nb-NO" sz="1800" dirty="0"/>
              <a:t>En annen utfordring er at det som gir energi og grunnleggende trygghet for en person kan være annerledes for en annen person</a:t>
            </a:r>
          </a:p>
          <a:p>
            <a:pPr marL="285750" indent="-285750"/>
            <a:r>
              <a:rPr lang="nb-NO" sz="1800" dirty="0"/>
              <a:t>Et prosjekt trenger alle typene, men da må vi anerkjenne hverandre og tilrettelegge for at hver person kan blomstre i rollen – Vi må bygge kultur</a:t>
            </a: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BC61FB38-585B-41D2-9387-9C53643AC683}"/>
              </a:ext>
            </a:extLst>
          </p:cNvPr>
          <p:cNvGrpSpPr/>
          <p:nvPr/>
        </p:nvGrpSpPr>
        <p:grpSpPr>
          <a:xfrm>
            <a:off x="492465" y="5521489"/>
            <a:ext cx="10850880" cy="298519"/>
            <a:chOff x="670560" y="5196840"/>
            <a:chExt cx="10850880" cy="298519"/>
          </a:xfrm>
        </p:grpSpPr>
        <p:sp>
          <p:nvSpPr>
            <p:cNvPr id="5" name="Rektangel: ett avrundet hjørne 4">
              <a:extLst>
                <a:ext uri="{FF2B5EF4-FFF2-40B4-BE49-F238E27FC236}">
                  <a16:creationId xmlns:a16="http://schemas.microsoft.com/office/drawing/2014/main" id="{9B04A85A-73A4-491A-BC72-7DEE2C12790E}"/>
                </a:ext>
              </a:extLst>
            </p:cNvPr>
            <p:cNvSpPr/>
            <p:nvPr/>
          </p:nvSpPr>
          <p:spPr>
            <a:xfrm>
              <a:off x="670560" y="5196840"/>
              <a:ext cx="10782300" cy="298519"/>
            </a:xfrm>
            <a:prstGeom prst="round1Rect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" name="TekstSylinder 5">
              <a:extLst>
                <a:ext uri="{FF2B5EF4-FFF2-40B4-BE49-F238E27FC236}">
                  <a16:creationId xmlns:a16="http://schemas.microsoft.com/office/drawing/2014/main" id="{684CA8AE-2D3E-4C96-885C-F147D0600AFF}"/>
                </a:ext>
              </a:extLst>
            </p:cNvPr>
            <p:cNvSpPr txBox="1"/>
            <p:nvPr/>
          </p:nvSpPr>
          <p:spPr>
            <a:xfrm>
              <a:off x="670560" y="5218360"/>
              <a:ext cx="22195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dministrasjon og kontroll</a:t>
              </a:r>
            </a:p>
          </p:txBody>
        </p:sp>
        <p:sp>
          <p:nvSpPr>
            <p:cNvPr id="7" name="TekstSylinder 6">
              <a:extLst>
                <a:ext uri="{FF2B5EF4-FFF2-40B4-BE49-F238E27FC236}">
                  <a16:creationId xmlns:a16="http://schemas.microsoft.com/office/drawing/2014/main" id="{430B3B3A-DB36-42B8-836F-5FEF54E65C3E}"/>
                </a:ext>
              </a:extLst>
            </p:cNvPr>
            <p:cNvSpPr txBox="1"/>
            <p:nvPr/>
          </p:nvSpPr>
          <p:spPr>
            <a:xfrm>
              <a:off x="8955545" y="5207599"/>
              <a:ext cx="256589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novasjon og kommunikasjon</a:t>
              </a:r>
            </a:p>
          </p:txBody>
        </p:sp>
      </p:grpSp>
      <p:pic>
        <p:nvPicPr>
          <p:cNvPr id="9" name="Picture 2">
            <a:extLst>
              <a:ext uri="{FF2B5EF4-FFF2-40B4-BE49-F238E27FC236}">
                <a16:creationId xmlns:a16="http://schemas.microsoft.com/office/drawing/2014/main" id="{C3D4B576-732E-4975-9A56-8336791011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3391" y="-26687"/>
            <a:ext cx="3408609" cy="2438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1478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412FC3C-A97C-4107-B32F-0CD648C94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itt om Marstrand - Visjon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8EFA7727-0D65-4DC0-B6DD-878FEA01D8CF}"/>
              </a:ext>
            </a:extLst>
          </p:cNvPr>
          <p:cNvSpPr/>
          <p:nvPr/>
        </p:nvSpPr>
        <p:spPr>
          <a:xfrm>
            <a:off x="4372834" y="2440472"/>
            <a:ext cx="66889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000" b="0" i="1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ikre kunders investeringer gjennom gode prosjekter</a:t>
            </a:r>
          </a:p>
        </p:txBody>
      </p:sp>
      <p:grpSp>
        <p:nvGrpSpPr>
          <p:cNvPr id="26" name="Group">
            <a:extLst>
              <a:ext uri="{FF2B5EF4-FFF2-40B4-BE49-F238E27FC236}">
                <a16:creationId xmlns:a16="http://schemas.microsoft.com/office/drawing/2014/main" id="{94FD149F-2D66-4B6B-8C73-409972BC9AD7}"/>
              </a:ext>
            </a:extLst>
          </p:cNvPr>
          <p:cNvGrpSpPr/>
          <p:nvPr/>
        </p:nvGrpSpPr>
        <p:grpSpPr>
          <a:xfrm>
            <a:off x="554997" y="1529986"/>
            <a:ext cx="2465726" cy="3434316"/>
            <a:chOff x="0" y="0"/>
            <a:chExt cx="2465725" cy="3434315"/>
          </a:xfrm>
        </p:grpSpPr>
        <p:sp>
          <p:nvSpPr>
            <p:cNvPr id="27" name="Shape">
              <a:extLst>
                <a:ext uri="{FF2B5EF4-FFF2-40B4-BE49-F238E27FC236}">
                  <a16:creationId xmlns:a16="http://schemas.microsoft.com/office/drawing/2014/main" id="{8BFD9152-B3C2-49FF-A02D-80BCB3246737}"/>
                </a:ext>
              </a:extLst>
            </p:cNvPr>
            <p:cNvSpPr/>
            <p:nvPr/>
          </p:nvSpPr>
          <p:spPr>
            <a:xfrm>
              <a:off x="-1" y="1101996"/>
              <a:ext cx="890380" cy="16625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450" y="12863"/>
                    <a:pt x="18450" y="13348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18450" y="13348"/>
                    <a:pt x="450" y="12863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1F1F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Shape">
              <a:extLst>
                <a:ext uri="{FF2B5EF4-FFF2-40B4-BE49-F238E27FC236}">
                  <a16:creationId xmlns:a16="http://schemas.microsoft.com/office/drawing/2014/main" id="{E3CF3586-D533-41CC-A1F6-0D7EC18E4EF8}"/>
                </a:ext>
              </a:extLst>
            </p:cNvPr>
            <p:cNvSpPr/>
            <p:nvPr/>
          </p:nvSpPr>
          <p:spPr>
            <a:xfrm>
              <a:off x="819461" y="1267462"/>
              <a:ext cx="354577" cy="15364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9494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Shape">
              <a:extLst>
                <a:ext uri="{FF2B5EF4-FFF2-40B4-BE49-F238E27FC236}">
                  <a16:creationId xmlns:a16="http://schemas.microsoft.com/office/drawing/2014/main" id="{1EE41F6F-C9E0-4E8C-A4DA-306C78B4633A}"/>
                </a:ext>
              </a:extLst>
            </p:cNvPr>
            <p:cNvSpPr/>
            <p:nvPr/>
          </p:nvSpPr>
          <p:spPr>
            <a:xfrm>
              <a:off x="575200" y="1133514"/>
              <a:ext cx="299422" cy="149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21600"/>
                  </a:moveTo>
                  <a:cubicBezTo>
                    <a:pt x="5400" y="21600"/>
                    <a:pt x="5400" y="21600"/>
                    <a:pt x="5400" y="21600"/>
                  </a:cubicBezTo>
                  <a:cubicBezTo>
                    <a:pt x="5400" y="21600"/>
                    <a:pt x="5400" y="21600"/>
                    <a:pt x="5400" y="21600"/>
                  </a:cubicBezTo>
                  <a:moveTo>
                    <a:pt x="0" y="2700"/>
                  </a:moveTo>
                  <a:cubicBezTo>
                    <a:pt x="0" y="10800"/>
                    <a:pt x="2700" y="16200"/>
                    <a:pt x="5400" y="21600"/>
                  </a:cubicBezTo>
                  <a:cubicBezTo>
                    <a:pt x="2700" y="16200"/>
                    <a:pt x="0" y="10800"/>
                    <a:pt x="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21600" y="2700"/>
                  </a:moveTo>
                  <a:cubicBezTo>
                    <a:pt x="21600" y="8100"/>
                    <a:pt x="20250" y="13500"/>
                    <a:pt x="17550" y="18900"/>
                  </a:cubicBezTo>
                  <a:cubicBezTo>
                    <a:pt x="17550" y="18900"/>
                    <a:pt x="17550" y="18900"/>
                    <a:pt x="17550" y="18900"/>
                  </a:cubicBezTo>
                  <a:cubicBezTo>
                    <a:pt x="17550" y="18900"/>
                    <a:pt x="17550" y="18900"/>
                    <a:pt x="17550" y="18900"/>
                  </a:cubicBezTo>
                  <a:cubicBezTo>
                    <a:pt x="20250" y="13500"/>
                    <a:pt x="21600" y="8100"/>
                    <a:pt x="2160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21600" y="2700"/>
                  </a:moveTo>
                  <a:cubicBezTo>
                    <a:pt x="21600" y="2700"/>
                    <a:pt x="21600" y="2700"/>
                    <a:pt x="21600" y="2700"/>
                  </a:cubicBezTo>
                  <a:cubicBezTo>
                    <a:pt x="21600" y="2700"/>
                    <a:pt x="21600" y="2700"/>
                    <a:pt x="2160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21600" y="2700"/>
                  </a:moveTo>
                  <a:cubicBezTo>
                    <a:pt x="21600" y="2700"/>
                    <a:pt x="21600" y="2700"/>
                    <a:pt x="21600" y="2700"/>
                  </a:cubicBezTo>
                  <a:cubicBezTo>
                    <a:pt x="21600" y="2700"/>
                    <a:pt x="21600" y="2700"/>
                    <a:pt x="21600" y="270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1600" y="0"/>
                  </a:move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0"/>
                    <a:pt x="21600" y="0"/>
                  </a:cubicBezTo>
                  <a:cubicBezTo>
                    <a:pt x="21600" y="0"/>
                    <a:pt x="21600" y="0"/>
                    <a:pt x="21600" y="0"/>
                  </a:cubicBezTo>
                </a:path>
              </a:pathLst>
            </a:custGeom>
            <a:solidFill>
              <a:srgbClr val="30303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Shape">
              <a:extLst>
                <a:ext uri="{FF2B5EF4-FFF2-40B4-BE49-F238E27FC236}">
                  <a16:creationId xmlns:a16="http://schemas.microsoft.com/office/drawing/2014/main" id="{04E1BA46-7276-468F-A8F9-0EE1D0C3A573}"/>
                </a:ext>
              </a:extLst>
            </p:cNvPr>
            <p:cNvSpPr/>
            <p:nvPr/>
          </p:nvSpPr>
          <p:spPr>
            <a:xfrm>
              <a:off x="890378" y="2764559"/>
              <a:ext cx="527923" cy="945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571" y="8640"/>
                  </a:moveTo>
                  <a:cubicBezTo>
                    <a:pt x="11571" y="8640"/>
                    <a:pt x="11571" y="8640"/>
                    <a:pt x="11571" y="864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11571" y="8640"/>
                    <a:pt x="11571" y="8640"/>
                    <a:pt x="11571" y="8640"/>
                  </a:cubicBezTo>
                  <a:cubicBezTo>
                    <a:pt x="11571" y="8640"/>
                    <a:pt x="11571" y="8640"/>
                    <a:pt x="11571" y="8640"/>
                  </a:cubicBezTo>
                  <a:moveTo>
                    <a:pt x="771" y="0"/>
                  </a:moveTo>
                  <a:cubicBezTo>
                    <a:pt x="771" y="0"/>
                    <a:pt x="77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71" y="0"/>
                    <a:pt x="771" y="0"/>
                    <a:pt x="771" y="0"/>
                  </a:cubicBezTo>
                  <a:moveTo>
                    <a:pt x="771" y="0"/>
                  </a:moveTo>
                  <a:cubicBezTo>
                    <a:pt x="6171" y="4320"/>
                    <a:pt x="6171" y="4320"/>
                    <a:pt x="6171" y="4320"/>
                  </a:cubicBezTo>
                  <a:cubicBezTo>
                    <a:pt x="771" y="0"/>
                    <a:pt x="771" y="0"/>
                    <a:pt x="771" y="0"/>
                  </a:cubicBezTo>
                </a:path>
              </a:pathLst>
            </a:custGeom>
            <a:solidFill>
              <a:srgbClr val="49494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Shape">
              <a:extLst>
                <a:ext uri="{FF2B5EF4-FFF2-40B4-BE49-F238E27FC236}">
                  <a16:creationId xmlns:a16="http://schemas.microsoft.com/office/drawing/2014/main" id="{F9B95BC9-C43C-4ED3-8DDA-C2ABF60EE387}"/>
                </a:ext>
              </a:extLst>
            </p:cNvPr>
            <p:cNvSpPr/>
            <p:nvPr/>
          </p:nvSpPr>
          <p:spPr>
            <a:xfrm>
              <a:off x="575200" y="1133514"/>
              <a:ext cx="299422" cy="149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400" y="21600"/>
                  </a:moveTo>
                  <a:cubicBezTo>
                    <a:pt x="6750" y="21600"/>
                    <a:pt x="8100" y="21600"/>
                    <a:pt x="8100" y="21600"/>
                  </a:cubicBezTo>
                  <a:cubicBezTo>
                    <a:pt x="8100" y="21600"/>
                    <a:pt x="8100" y="21600"/>
                    <a:pt x="8100" y="21600"/>
                  </a:cubicBezTo>
                  <a:cubicBezTo>
                    <a:pt x="8100" y="21600"/>
                    <a:pt x="8100" y="21600"/>
                    <a:pt x="8100" y="21600"/>
                  </a:cubicBezTo>
                  <a:cubicBezTo>
                    <a:pt x="8100" y="21600"/>
                    <a:pt x="8100" y="21600"/>
                    <a:pt x="8100" y="21600"/>
                  </a:cubicBezTo>
                  <a:cubicBezTo>
                    <a:pt x="8100" y="21600"/>
                    <a:pt x="6750" y="21600"/>
                    <a:pt x="5400" y="21600"/>
                  </a:cubicBezTo>
                  <a:moveTo>
                    <a:pt x="5400" y="21600"/>
                  </a:moveTo>
                  <a:cubicBezTo>
                    <a:pt x="5400" y="21600"/>
                    <a:pt x="5400" y="21600"/>
                    <a:pt x="5400" y="21600"/>
                  </a:cubicBezTo>
                  <a:cubicBezTo>
                    <a:pt x="5400" y="21600"/>
                    <a:pt x="5400" y="21600"/>
                    <a:pt x="5400" y="216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21600" y="2700"/>
                  </a:moveTo>
                  <a:cubicBezTo>
                    <a:pt x="21600" y="2700"/>
                    <a:pt x="21600" y="2700"/>
                    <a:pt x="21600" y="2700"/>
                  </a:cubicBezTo>
                  <a:cubicBezTo>
                    <a:pt x="21600" y="2700"/>
                    <a:pt x="21600" y="2700"/>
                    <a:pt x="21600" y="2700"/>
                  </a:cubicBezTo>
                  <a:moveTo>
                    <a:pt x="0" y="2700"/>
                  </a:moveTo>
                  <a:cubicBezTo>
                    <a:pt x="0" y="2700"/>
                    <a:pt x="0" y="2700"/>
                    <a:pt x="0" y="2700"/>
                  </a:cubicBezTo>
                  <a:cubicBezTo>
                    <a:pt x="0" y="2700"/>
                    <a:pt x="0" y="2700"/>
                    <a:pt x="0" y="2700"/>
                  </a:cubicBezTo>
                  <a:moveTo>
                    <a:pt x="21600" y="2700"/>
                  </a:moveTo>
                  <a:cubicBezTo>
                    <a:pt x="21600" y="2700"/>
                    <a:pt x="21600" y="2700"/>
                    <a:pt x="21600" y="2700"/>
                  </a:cubicBezTo>
                  <a:cubicBezTo>
                    <a:pt x="21600" y="2700"/>
                    <a:pt x="21600" y="2700"/>
                    <a:pt x="21600" y="270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270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1600" y="0"/>
                  </a:moveTo>
                  <a:cubicBezTo>
                    <a:pt x="21600" y="0"/>
                    <a:pt x="21600" y="0"/>
                    <a:pt x="21600" y="2700"/>
                  </a:cubicBezTo>
                  <a:cubicBezTo>
                    <a:pt x="21600" y="0"/>
                    <a:pt x="21600" y="0"/>
                    <a:pt x="21600" y="0"/>
                  </a:cubicBezTo>
                </a:path>
              </a:pathLst>
            </a:custGeom>
            <a:solidFill>
              <a:srgbClr val="30303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Shape">
              <a:extLst>
                <a:ext uri="{FF2B5EF4-FFF2-40B4-BE49-F238E27FC236}">
                  <a16:creationId xmlns:a16="http://schemas.microsoft.com/office/drawing/2014/main" id="{35C4F014-252A-4B45-A41B-CC68B6C045AD}"/>
                </a:ext>
              </a:extLst>
            </p:cNvPr>
            <p:cNvSpPr/>
            <p:nvPr/>
          </p:nvSpPr>
          <p:spPr>
            <a:xfrm>
              <a:off x="685514" y="1283222"/>
              <a:ext cx="39399" cy="236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moveTo>
                    <a:pt x="21600" y="21600"/>
                  </a:move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800" y="21600"/>
                    <a:pt x="10800" y="21600"/>
                    <a:pt x="21600" y="21600"/>
                  </a:cubicBezTo>
                  <a:cubicBezTo>
                    <a:pt x="10800" y="21600"/>
                    <a:pt x="10800" y="21600"/>
                    <a:pt x="0" y="0"/>
                  </a:cubicBezTo>
                </a:path>
              </a:pathLst>
            </a:custGeom>
            <a:solidFill>
              <a:srgbClr val="0F0F0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Triangle">
              <a:extLst>
                <a:ext uri="{FF2B5EF4-FFF2-40B4-BE49-F238E27FC236}">
                  <a16:creationId xmlns:a16="http://schemas.microsoft.com/office/drawing/2014/main" id="{147760DE-17D7-427D-AAC5-164151603854}"/>
                </a:ext>
              </a:extLst>
            </p:cNvPr>
            <p:cNvSpPr/>
            <p:nvPr/>
          </p:nvSpPr>
          <p:spPr>
            <a:xfrm>
              <a:off x="1363145" y="3418555"/>
              <a:ext cx="55156" cy="157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0F0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Shape">
              <a:extLst>
                <a:ext uri="{FF2B5EF4-FFF2-40B4-BE49-F238E27FC236}">
                  <a16:creationId xmlns:a16="http://schemas.microsoft.com/office/drawing/2014/main" id="{5BCC8844-180B-4FB9-809D-BDBC10B47B73}"/>
                </a:ext>
              </a:extLst>
            </p:cNvPr>
            <p:cNvSpPr/>
            <p:nvPr/>
          </p:nvSpPr>
          <p:spPr>
            <a:xfrm>
              <a:off x="685514" y="1283222"/>
              <a:ext cx="354577" cy="14970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9494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Shape">
              <a:extLst>
                <a:ext uri="{FF2B5EF4-FFF2-40B4-BE49-F238E27FC236}">
                  <a16:creationId xmlns:a16="http://schemas.microsoft.com/office/drawing/2014/main" id="{EF559283-3911-47DC-82C7-FAE5B2FA7236}"/>
                </a:ext>
              </a:extLst>
            </p:cNvPr>
            <p:cNvSpPr/>
            <p:nvPr/>
          </p:nvSpPr>
          <p:spPr>
            <a:xfrm>
              <a:off x="724909" y="1267462"/>
              <a:ext cx="94554" cy="39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0" y="21600"/>
                    <a:pt x="0" y="21600"/>
                    <a:pt x="0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21600"/>
                    <a:pt x="0" y="21600"/>
                    <a:pt x="0" y="21600"/>
                  </a:cubicBezTo>
                  <a:moveTo>
                    <a:pt x="0" y="21600"/>
                  </a:moveTo>
                  <a:cubicBezTo>
                    <a:pt x="0" y="21600"/>
                    <a:pt x="0" y="21600"/>
                    <a:pt x="0" y="21600"/>
                  </a:cubicBezTo>
                  <a:cubicBezTo>
                    <a:pt x="0" y="21600"/>
                    <a:pt x="0" y="21600"/>
                    <a:pt x="0" y="21600"/>
                  </a:cubicBezTo>
                  <a:moveTo>
                    <a:pt x="21600" y="0"/>
                  </a:moveTo>
                  <a:cubicBezTo>
                    <a:pt x="17280" y="10800"/>
                    <a:pt x="8640" y="21600"/>
                    <a:pt x="0" y="21600"/>
                  </a:cubicBezTo>
                  <a:cubicBezTo>
                    <a:pt x="8640" y="21600"/>
                    <a:pt x="17280" y="10800"/>
                    <a:pt x="21600" y="0"/>
                  </a:cubicBezTo>
                  <a:cubicBezTo>
                    <a:pt x="21600" y="0"/>
                    <a:pt x="21600" y="0"/>
                    <a:pt x="21600" y="0"/>
                  </a:cubicBezTo>
                </a:path>
              </a:pathLst>
            </a:custGeom>
            <a:solidFill>
              <a:srgbClr val="0F0F0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Shape">
              <a:extLst>
                <a:ext uri="{FF2B5EF4-FFF2-40B4-BE49-F238E27FC236}">
                  <a16:creationId xmlns:a16="http://schemas.microsoft.com/office/drawing/2014/main" id="{14C834B3-7878-4E56-BDD2-35E1F908EA3B}"/>
                </a:ext>
              </a:extLst>
            </p:cNvPr>
            <p:cNvSpPr/>
            <p:nvPr/>
          </p:nvSpPr>
          <p:spPr>
            <a:xfrm>
              <a:off x="819461" y="3308241"/>
              <a:ext cx="165471" cy="551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000" y="14400"/>
                  </a:move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12000" y="14400"/>
                    <a:pt x="12000" y="14400"/>
                    <a:pt x="12000" y="14400"/>
                  </a:cubicBezTo>
                  <a:moveTo>
                    <a:pt x="7200" y="14400"/>
                  </a:moveTo>
                  <a:cubicBezTo>
                    <a:pt x="7200" y="14400"/>
                    <a:pt x="7200" y="14400"/>
                    <a:pt x="7200" y="14400"/>
                  </a:cubicBezTo>
                  <a:cubicBezTo>
                    <a:pt x="7200" y="14400"/>
                    <a:pt x="7200" y="14400"/>
                    <a:pt x="7200" y="14400"/>
                  </a:cubicBezTo>
                  <a:moveTo>
                    <a:pt x="7200" y="14400"/>
                  </a:moveTo>
                  <a:cubicBezTo>
                    <a:pt x="7200" y="14400"/>
                    <a:pt x="7200" y="14400"/>
                    <a:pt x="7200" y="14400"/>
                  </a:cubicBezTo>
                  <a:cubicBezTo>
                    <a:pt x="7200" y="14400"/>
                    <a:pt x="7200" y="14400"/>
                    <a:pt x="7200" y="14400"/>
                  </a:cubicBezTo>
                  <a:moveTo>
                    <a:pt x="7200" y="14400"/>
                  </a:moveTo>
                  <a:cubicBezTo>
                    <a:pt x="7200" y="14400"/>
                    <a:pt x="7200" y="14400"/>
                    <a:pt x="7200" y="14400"/>
                  </a:cubicBezTo>
                  <a:cubicBezTo>
                    <a:pt x="7200" y="14400"/>
                    <a:pt x="7200" y="14400"/>
                    <a:pt x="7200" y="14400"/>
                  </a:cubicBezTo>
                  <a:moveTo>
                    <a:pt x="7200" y="14400"/>
                  </a:moveTo>
                  <a:cubicBezTo>
                    <a:pt x="7200" y="14400"/>
                    <a:pt x="7200" y="14400"/>
                    <a:pt x="7200" y="14400"/>
                  </a:cubicBezTo>
                  <a:cubicBezTo>
                    <a:pt x="7200" y="14400"/>
                    <a:pt x="7200" y="14400"/>
                    <a:pt x="7200" y="14400"/>
                  </a:cubicBezTo>
                  <a:moveTo>
                    <a:pt x="7200" y="14400"/>
                  </a:moveTo>
                  <a:cubicBezTo>
                    <a:pt x="7200" y="14400"/>
                    <a:pt x="7200" y="14400"/>
                    <a:pt x="7200" y="14400"/>
                  </a:cubicBezTo>
                  <a:cubicBezTo>
                    <a:pt x="7200" y="14400"/>
                    <a:pt x="7200" y="14400"/>
                    <a:pt x="7200" y="14400"/>
                  </a:cubicBezTo>
                  <a:moveTo>
                    <a:pt x="7200" y="14400"/>
                  </a:moveTo>
                  <a:cubicBezTo>
                    <a:pt x="7200" y="14400"/>
                    <a:pt x="7200" y="14400"/>
                    <a:pt x="7200" y="14400"/>
                  </a:cubicBezTo>
                  <a:cubicBezTo>
                    <a:pt x="7200" y="14400"/>
                    <a:pt x="7200" y="14400"/>
                    <a:pt x="7200" y="14400"/>
                  </a:cubicBezTo>
                  <a:moveTo>
                    <a:pt x="0" y="0"/>
                  </a:moveTo>
                  <a:cubicBezTo>
                    <a:pt x="2400" y="7200"/>
                    <a:pt x="4800" y="7200"/>
                    <a:pt x="7200" y="14400"/>
                  </a:cubicBezTo>
                  <a:cubicBezTo>
                    <a:pt x="4800" y="7200"/>
                    <a:pt x="2400" y="720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D4D4D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:a16="http://schemas.microsoft.com/office/drawing/2014/main" id="{F32D6140-C2C6-4C98-AE92-2107016E95DA}"/>
                </a:ext>
              </a:extLst>
            </p:cNvPr>
            <p:cNvSpPr/>
            <p:nvPr/>
          </p:nvSpPr>
          <p:spPr>
            <a:xfrm>
              <a:off x="819461" y="2914270"/>
              <a:ext cx="94555" cy="1103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600"/>
                    <a:pt x="0" y="10800"/>
                    <a:pt x="4320" y="10800"/>
                  </a:cubicBezTo>
                  <a:cubicBezTo>
                    <a:pt x="4320" y="18000"/>
                    <a:pt x="1296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12960" y="21600"/>
                    <a:pt x="4320" y="18000"/>
                    <a:pt x="4320" y="10800"/>
                  </a:cubicBezTo>
                  <a:cubicBezTo>
                    <a:pt x="0" y="10800"/>
                    <a:pt x="0" y="360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F0F0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Shape">
              <a:extLst>
                <a:ext uri="{FF2B5EF4-FFF2-40B4-BE49-F238E27FC236}">
                  <a16:creationId xmlns:a16="http://schemas.microsoft.com/office/drawing/2014/main" id="{7B54BB73-271B-4833-94C9-7D3E0375F16D}"/>
                </a:ext>
              </a:extLst>
            </p:cNvPr>
            <p:cNvSpPr/>
            <p:nvPr/>
          </p:nvSpPr>
          <p:spPr>
            <a:xfrm>
              <a:off x="819461" y="3174293"/>
              <a:ext cx="598840" cy="2048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050" y="11782"/>
                  </a:moveTo>
                  <a:cubicBezTo>
                    <a:pt x="3375" y="11782"/>
                    <a:pt x="337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4050" y="11782"/>
                    <a:pt x="4050" y="11782"/>
                    <a:pt x="4050" y="11782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4050" y="11782"/>
                    <a:pt x="4050" y="11782"/>
                    <a:pt x="4050" y="11782"/>
                  </a:cubicBezTo>
                  <a:moveTo>
                    <a:pt x="675" y="7855"/>
                  </a:moveTo>
                  <a:cubicBezTo>
                    <a:pt x="1350" y="9818"/>
                    <a:pt x="2025" y="11782"/>
                    <a:pt x="3375" y="11782"/>
                  </a:cubicBezTo>
                  <a:cubicBezTo>
                    <a:pt x="3375" y="11782"/>
                    <a:pt x="3375" y="11782"/>
                    <a:pt x="3375" y="11782"/>
                  </a:cubicBezTo>
                  <a:cubicBezTo>
                    <a:pt x="2025" y="11782"/>
                    <a:pt x="1350" y="9818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moveTo>
                    <a:pt x="675" y="7855"/>
                  </a:moveTo>
                  <a:cubicBezTo>
                    <a:pt x="675" y="7855"/>
                    <a:pt x="675" y="7855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927"/>
                    <a:pt x="0" y="5891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cubicBezTo>
                    <a:pt x="675" y="7855"/>
                    <a:pt x="675" y="7855"/>
                    <a:pt x="675" y="7855"/>
                  </a:cubicBezTo>
                  <a:cubicBezTo>
                    <a:pt x="0" y="5891"/>
                    <a:pt x="0" y="3927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2E2E2E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9" name="Shape">
              <a:extLst>
                <a:ext uri="{FF2B5EF4-FFF2-40B4-BE49-F238E27FC236}">
                  <a16:creationId xmlns:a16="http://schemas.microsoft.com/office/drawing/2014/main" id="{3F794BF4-904D-4358-90C8-C585784C0B5E}"/>
                </a:ext>
              </a:extLst>
            </p:cNvPr>
            <p:cNvSpPr/>
            <p:nvPr/>
          </p:nvSpPr>
          <p:spPr>
            <a:xfrm>
              <a:off x="819461" y="2819717"/>
              <a:ext cx="598840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75" y="0"/>
                  </a:moveTo>
                  <a:cubicBezTo>
                    <a:pt x="1350" y="0"/>
                    <a:pt x="0" y="8640"/>
                    <a:pt x="0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8640"/>
                    <a:pt x="1350" y="0"/>
                    <a:pt x="3375" y="0"/>
                  </a:cubicBezTo>
                  <a:cubicBezTo>
                    <a:pt x="21600" y="17280"/>
                    <a:pt x="21600" y="17280"/>
                    <a:pt x="21600" y="17280"/>
                  </a:cubicBezTo>
                  <a:cubicBezTo>
                    <a:pt x="21600" y="17280"/>
                    <a:pt x="21600" y="17280"/>
                    <a:pt x="21600" y="17280"/>
                  </a:cubicBezTo>
                  <a:cubicBezTo>
                    <a:pt x="3375" y="0"/>
                    <a:pt x="3375" y="0"/>
                    <a:pt x="3375" y="0"/>
                  </a:cubicBezTo>
                </a:path>
              </a:pathLst>
            </a:custGeom>
            <a:solidFill>
              <a:srgbClr val="0F0F0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Shape">
              <a:extLst>
                <a:ext uri="{FF2B5EF4-FFF2-40B4-BE49-F238E27FC236}">
                  <a16:creationId xmlns:a16="http://schemas.microsoft.com/office/drawing/2014/main" id="{CD57CB49-7AD1-48D8-87AB-01D994231C83}"/>
                </a:ext>
              </a:extLst>
            </p:cNvPr>
            <p:cNvSpPr/>
            <p:nvPr/>
          </p:nvSpPr>
          <p:spPr>
            <a:xfrm>
              <a:off x="914015" y="3024581"/>
              <a:ext cx="504286" cy="945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0F0F0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Shape">
              <a:extLst>
                <a:ext uri="{FF2B5EF4-FFF2-40B4-BE49-F238E27FC236}">
                  <a16:creationId xmlns:a16="http://schemas.microsoft.com/office/drawing/2014/main" id="{DC11ED49-8C0F-4309-9FE3-E9B533BE7C80}"/>
                </a:ext>
              </a:extLst>
            </p:cNvPr>
            <p:cNvSpPr/>
            <p:nvPr/>
          </p:nvSpPr>
          <p:spPr>
            <a:xfrm>
              <a:off x="819461" y="3079736"/>
              <a:ext cx="598840" cy="9455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375" y="0"/>
                  </a:moveTo>
                  <a:cubicBezTo>
                    <a:pt x="1350" y="0"/>
                    <a:pt x="0" y="8640"/>
                    <a:pt x="0" y="2160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0" y="8640"/>
                    <a:pt x="1350" y="0"/>
                    <a:pt x="3375" y="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cubicBezTo>
                    <a:pt x="3375" y="0"/>
                    <a:pt x="3375" y="0"/>
                    <a:pt x="3375" y="0"/>
                  </a:cubicBezTo>
                </a:path>
              </a:pathLst>
            </a:custGeom>
            <a:solidFill>
              <a:srgbClr val="2E2E2E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Oval">
              <a:extLst>
                <a:ext uri="{FF2B5EF4-FFF2-40B4-BE49-F238E27FC236}">
                  <a16:creationId xmlns:a16="http://schemas.microsoft.com/office/drawing/2014/main" id="{482CAC1E-0D30-4D47-AEC6-6EE384208C97}"/>
                </a:ext>
              </a:extLst>
            </p:cNvPr>
            <p:cNvSpPr/>
            <p:nvPr/>
          </p:nvSpPr>
          <p:spPr>
            <a:xfrm>
              <a:off x="695030" y="2812280"/>
              <a:ext cx="148015" cy="131569"/>
            </a:xfrm>
            <a:prstGeom prst="ellipse">
              <a:avLst/>
            </a:prstGeom>
            <a:solidFill>
              <a:srgbClr val="FAFAF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Shape">
              <a:extLst>
                <a:ext uri="{FF2B5EF4-FFF2-40B4-BE49-F238E27FC236}">
                  <a16:creationId xmlns:a16="http://schemas.microsoft.com/office/drawing/2014/main" id="{A99F8CDC-26AD-4939-91F4-99921A8812B6}"/>
                </a:ext>
              </a:extLst>
            </p:cNvPr>
            <p:cNvSpPr/>
            <p:nvPr/>
          </p:nvSpPr>
          <p:spPr>
            <a:xfrm>
              <a:off x="102972" y="0"/>
              <a:ext cx="2362754" cy="28396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31" y="13438"/>
                  </a:moveTo>
                  <a:cubicBezTo>
                    <a:pt x="20997" y="12044"/>
                    <a:pt x="21600" y="10551"/>
                    <a:pt x="21600" y="8859"/>
                  </a:cubicBezTo>
                  <a:cubicBezTo>
                    <a:pt x="21600" y="3982"/>
                    <a:pt x="16773" y="0"/>
                    <a:pt x="10740" y="0"/>
                  </a:cubicBezTo>
                  <a:cubicBezTo>
                    <a:pt x="4827" y="0"/>
                    <a:pt x="0" y="3982"/>
                    <a:pt x="0" y="8859"/>
                  </a:cubicBezTo>
                  <a:cubicBezTo>
                    <a:pt x="0" y="10551"/>
                    <a:pt x="603" y="12044"/>
                    <a:pt x="1569" y="13438"/>
                  </a:cubicBezTo>
                  <a:cubicBezTo>
                    <a:pt x="1448" y="13438"/>
                    <a:pt x="1448" y="13438"/>
                    <a:pt x="1448" y="13438"/>
                  </a:cubicBezTo>
                  <a:cubicBezTo>
                    <a:pt x="5913" y="19012"/>
                    <a:pt x="5430" y="21600"/>
                    <a:pt x="5430" y="21600"/>
                  </a:cubicBezTo>
                  <a:cubicBezTo>
                    <a:pt x="10740" y="21600"/>
                    <a:pt x="10740" y="21600"/>
                    <a:pt x="10740" y="21600"/>
                  </a:cubicBezTo>
                  <a:cubicBezTo>
                    <a:pt x="16170" y="21600"/>
                    <a:pt x="16170" y="21600"/>
                    <a:pt x="16170" y="21600"/>
                  </a:cubicBezTo>
                  <a:cubicBezTo>
                    <a:pt x="16170" y="21600"/>
                    <a:pt x="15687" y="19012"/>
                    <a:pt x="20152" y="13438"/>
                  </a:cubicBezTo>
                  <a:cubicBezTo>
                    <a:pt x="20031" y="13438"/>
                    <a:pt x="20031" y="13438"/>
                    <a:pt x="20031" y="13438"/>
                  </a:cubicBezTo>
                  <a:cubicBezTo>
                    <a:pt x="20031" y="13438"/>
                    <a:pt x="20031" y="13438"/>
                    <a:pt x="20031" y="13438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Shape">
              <a:extLst>
                <a:ext uri="{FF2B5EF4-FFF2-40B4-BE49-F238E27FC236}">
                  <a16:creationId xmlns:a16="http://schemas.microsoft.com/office/drawing/2014/main" id="{8A398BF6-9C6D-447A-9817-E6CAE7E7F922}"/>
                </a:ext>
              </a:extLst>
            </p:cNvPr>
            <p:cNvSpPr/>
            <p:nvPr/>
          </p:nvSpPr>
          <p:spPr>
            <a:xfrm>
              <a:off x="695030" y="1238938"/>
              <a:ext cx="1173154" cy="2795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3371"/>
                  </a:moveTo>
                  <a:cubicBezTo>
                    <a:pt x="485" y="13371"/>
                    <a:pt x="971" y="12343"/>
                    <a:pt x="1456" y="11314"/>
                  </a:cubicBezTo>
                  <a:cubicBezTo>
                    <a:pt x="1942" y="10286"/>
                    <a:pt x="2427" y="10286"/>
                    <a:pt x="2912" y="9257"/>
                  </a:cubicBezTo>
                  <a:cubicBezTo>
                    <a:pt x="3155" y="9257"/>
                    <a:pt x="3155" y="9257"/>
                    <a:pt x="3155" y="9257"/>
                  </a:cubicBezTo>
                  <a:cubicBezTo>
                    <a:pt x="3155" y="9257"/>
                    <a:pt x="3155" y="9257"/>
                    <a:pt x="3155" y="9257"/>
                  </a:cubicBezTo>
                  <a:cubicBezTo>
                    <a:pt x="3640" y="11314"/>
                    <a:pt x="4126" y="12343"/>
                    <a:pt x="4854" y="13371"/>
                  </a:cubicBezTo>
                  <a:cubicBezTo>
                    <a:pt x="4369" y="14400"/>
                    <a:pt x="4369" y="14400"/>
                    <a:pt x="4369" y="14400"/>
                  </a:cubicBezTo>
                  <a:cubicBezTo>
                    <a:pt x="4854" y="11314"/>
                    <a:pt x="5582" y="8229"/>
                    <a:pt x="6067" y="5143"/>
                  </a:cubicBezTo>
                  <a:cubicBezTo>
                    <a:pt x="6310" y="4114"/>
                    <a:pt x="6310" y="4114"/>
                    <a:pt x="6310" y="4114"/>
                  </a:cubicBezTo>
                  <a:cubicBezTo>
                    <a:pt x="6796" y="5143"/>
                    <a:pt x="6796" y="5143"/>
                    <a:pt x="6796" y="5143"/>
                  </a:cubicBezTo>
                  <a:cubicBezTo>
                    <a:pt x="7281" y="7200"/>
                    <a:pt x="7766" y="9257"/>
                    <a:pt x="8252" y="10286"/>
                  </a:cubicBezTo>
                  <a:cubicBezTo>
                    <a:pt x="8980" y="12343"/>
                    <a:pt x="9465" y="14400"/>
                    <a:pt x="9951" y="16457"/>
                  </a:cubicBezTo>
                  <a:cubicBezTo>
                    <a:pt x="9222" y="16457"/>
                    <a:pt x="9222" y="16457"/>
                    <a:pt x="9222" y="16457"/>
                  </a:cubicBezTo>
                  <a:cubicBezTo>
                    <a:pt x="10679" y="9257"/>
                    <a:pt x="10679" y="9257"/>
                    <a:pt x="10679" y="9257"/>
                  </a:cubicBezTo>
                  <a:cubicBezTo>
                    <a:pt x="11407" y="7200"/>
                    <a:pt x="11892" y="4114"/>
                    <a:pt x="12620" y="2057"/>
                  </a:cubicBezTo>
                  <a:cubicBezTo>
                    <a:pt x="13106" y="0"/>
                    <a:pt x="13106" y="0"/>
                    <a:pt x="13106" y="0"/>
                  </a:cubicBezTo>
                  <a:cubicBezTo>
                    <a:pt x="13348" y="2057"/>
                    <a:pt x="13348" y="2057"/>
                    <a:pt x="13348" y="2057"/>
                  </a:cubicBezTo>
                  <a:cubicBezTo>
                    <a:pt x="13591" y="4114"/>
                    <a:pt x="13834" y="6171"/>
                    <a:pt x="14076" y="8229"/>
                  </a:cubicBezTo>
                  <a:cubicBezTo>
                    <a:pt x="14804" y="14400"/>
                    <a:pt x="14804" y="14400"/>
                    <a:pt x="14804" y="14400"/>
                  </a:cubicBezTo>
                  <a:cubicBezTo>
                    <a:pt x="13834" y="13371"/>
                    <a:pt x="13834" y="13371"/>
                    <a:pt x="13834" y="13371"/>
                  </a:cubicBezTo>
                  <a:cubicBezTo>
                    <a:pt x="14562" y="9257"/>
                    <a:pt x="14562" y="9257"/>
                    <a:pt x="14562" y="9257"/>
                  </a:cubicBezTo>
                  <a:cubicBezTo>
                    <a:pt x="15047" y="8229"/>
                    <a:pt x="15047" y="8229"/>
                    <a:pt x="15047" y="8229"/>
                  </a:cubicBezTo>
                  <a:cubicBezTo>
                    <a:pt x="15290" y="9257"/>
                    <a:pt x="15290" y="9257"/>
                    <a:pt x="15290" y="9257"/>
                  </a:cubicBezTo>
                  <a:cubicBezTo>
                    <a:pt x="16503" y="13371"/>
                    <a:pt x="16503" y="13371"/>
                    <a:pt x="16503" y="13371"/>
                  </a:cubicBezTo>
                  <a:cubicBezTo>
                    <a:pt x="16018" y="14400"/>
                    <a:pt x="16018" y="14400"/>
                    <a:pt x="16018" y="14400"/>
                  </a:cubicBezTo>
                  <a:cubicBezTo>
                    <a:pt x="16503" y="11314"/>
                    <a:pt x="16989" y="8229"/>
                    <a:pt x="17474" y="6171"/>
                  </a:cubicBezTo>
                  <a:cubicBezTo>
                    <a:pt x="17717" y="5143"/>
                    <a:pt x="17717" y="5143"/>
                    <a:pt x="17717" y="5143"/>
                  </a:cubicBezTo>
                  <a:cubicBezTo>
                    <a:pt x="17960" y="5143"/>
                    <a:pt x="17960" y="5143"/>
                    <a:pt x="17960" y="5143"/>
                  </a:cubicBezTo>
                  <a:cubicBezTo>
                    <a:pt x="18445" y="7200"/>
                    <a:pt x="19173" y="8229"/>
                    <a:pt x="19658" y="9257"/>
                  </a:cubicBezTo>
                  <a:cubicBezTo>
                    <a:pt x="20387" y="11314"/>
                    <a:pt x="20872" y="12343"/>
                    <a:pt x="21600" y="13371"/>
                  </a:cubicBezTo>
                  <a:cubicBezTo>
                    <a:pt x="20872" y="13371"/>
                    <a:pt x="20144" y="12343"/>
                    <a:pt x="19658" y="11314"/>
                  </a:cubicBezTo>
                  <a:cubicBezTo>
                    <a:pt x="18930" y="10286"/>
                    <a:pt x="18202" y="9257"/>
                    <a:pt x="17717" y="8229"/>
                  </a:cubicBezTo>
                  <a:cubicBezTo>
                    <a:pt x="17960" y="7200"/>
                    <a:pt x="17960" y="7200"/>
                    <a:pt x="17960" y="7200"/>
                  </a:cubicBezTo>
                  <a:cubicBezTo>
                    <a:pt x="17474" y="10286"/>
                    <a:pt x="16989" y="13371"/>
                    <a:pt x="16503" y="16457"/>
                  </a:cubicBezTo>
                  <a:cubicBezTo>
                    <a:pt x="16261" y="17486"/>
                    <a:pt x="16261" y="17486"/>
                    <a:pt x="16261" y="17486"/>
                  </a:cubicBezTo>
                  <a:cubicBezTo>
                    <a:pt x="16018" y="16457"/>
                    <a:pt x="16018" y="16457"/>
                    <a:pt x="16018" y="16457"/>
                  </a:cubicBezTo>
                  <a:cubicBezTo>
                    <a:pt x="14804" y="12343"/>
                    <a:pt x="14804" y="12343"/>
                    <a:pt x="14804" y="12343"/>
                  </a:cubicBezTo>
                  <a:cubicBezTo>
                    <a:pt x="15533" y="12343"/>
                    <a:pt x="15533" y="12343"/>
                    <a:pt x="15533" y="12343"/>
                  </a:cubicBezTo>
                  <a:cubicBezTo>
                    <a:pt x="14804" y="16457"/>
                    <a:pt x="14804" y="16457"/>
                    <a:pt x="14804" y="16457"/>
                  </a:cubicBezTo>
                  <a:cubicBezTo>
                    <a:pt x="14319" y="19543"/>
                    <a:pt x="14319" y="19543"/>
                    <a:pt x="14319" y="19543"/>
                  </a:cubicBezTo>
                  <a:cubicBezTo>
                    <a:pt x="13834" y="16457"/>
                    <a:pt x="13834" y="16457"/>
                    <a:pt x="13834" y="16457"/>
                  </a:cubicBezTo>
                  <a:cubicBezTo>
                    <a:pt x="13106" y="10286"/>
                    <a:pt x="13106" y="10286"/>
                    <a:pt x="13106" y="10286"/>
                  </a:cubicBezTo>
                  <a:cubicBezTo>
                    <a:pt x="12863" y="8229"/>
                    <a:pt x="12620" y="7200"/>
                    <a:pt x="12378" y="5143"/>
                  </a:cubicBezTo>
                  <a:cubicBezTo>
                    <a:pt x="13348" y="5143"/>
                    <a:pt x="13348" y="5143"/>
                    <a:pt x="13348" y="5143"/>
                  </a:cubicBezTo>
                  <a:cubicBezTo>
                    <a:pt x="12863" y="8229"/>
                    <a:pt x="12135" y="10286"/>
                    <a:pt x="11649" y="12343"/>
                  </a:cubicBezTo>
                  <a:cubicBezTo>
                    <a:pt x="9951" y="19543"/>
                    <a:pt x="9951" y="19543"/>
                    <a:pt x="9951" y="19543"/>
                  </a:cubicBezTo>
                  <a:cubicBezTo>
                    <a:pt x="9465" y="21600"/>
                    <a:pt x="9465" y="21600"/>
                    <a:pt x="9465" y="21600"/>
                  </a:cubicBezTo>
                  <a:cubicBezTo>
                    <a:pt x="9222" y="19543"/>
                    <a:pt x="9222" y="19543"/>
                    <a:pt x="9222" y="19543"/>
                  </a:cubicBezTo>
                  <a:cubicBezTo>
                    <a:pt x="8737" y="18514"/>
                    <a:pt x="8009" y="16457"/>
                    <a:pt x="7524" y="14400"/>
                  </a:cubicBezTo>
                  <a:cubicBezTo>
                    <a:pt x="7038" y="12343"/>
                    <a:pt x="6553" y="10286"/>
                    <a:pt x="6067" y="8229"/>
                  </a:cubicBezTo>
                  <a:cubicBezTo>
                    <a:pt x="6796" y="8229"/>
                    <a:pt x="6796" y="8229"/>
                    <a:pt x="6796" y="8229"/>
                  </a:cubicBezTo>
                  <a:cubicBezTo>
                    <a:pt x="6067" y="10286"/>
                    <a:pt x="5582" y="13371"/>
                    <a:pt x="4854" y="16457"/>
                  </a:cubicBezTo>
                  <a:cubicBezTo>
                    <a:pt x="4611" y="17486"/>
                    <a:pt x="4611" y="17486"/>
                    <a:pt x="4611" y="17486"/>
                  </a:cubicBezTo>
                  <a:cubicBezTo>
                    <a:pt x="4369" y="16457"/>
                    <a:pt x="4369" y="16457"/>
                    <a:pt x="4369" y="16457"/>
                  </a:cubicBezTo>
                  <a:cubicBezTo>
                    <a:pt x="3883" y="14400"/>
                    <a:pt x="3398" y="13371"/>
                    <a:pt x="2912" y="11314"/>
                  </a:cubicBezTo>
                  <a:cubicBezTo>
                    <a:pt x="3155" y="11314"/>
                    <a:pt x="3155" y="11314"/>
                    <a:pt x="3155" y="11314"/>
                  </a:cubicBezTo>
                  <a:cubicBezTo>
                    <a:pt x="2670" y="12343"/>
                    <a:pt x="2184" y="12343"/>
                    <a:pt x="1699" y="12343"/>
                  </a:cubicBezTo>
                  <a:cubicBezTo>
                    <a:pt x="971" y="13371"/>
                    <a:pt x="485" y="13371"/>
                    <a:pt x="0" y="13371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5" name="Shape">
              <a:extLst>
                <a:ext uri="{FF2B5EF4-FFF2-40B4-BE49-F238E27FC236}">
                  <a16:creationId xmlns:a16="http://schemas.microsoft.com/office/drawing/2014/main" id="{E67B1C5F-B314-43C7-ACD0-5B448A4FB539}"/>
                </a:ext>
              </a:extLst>
            </p:cNvPr>
            <p:cNvSpPr/>
            <p:nvPr/>
          </p:nvSpPr>
          <p:spPr>
            <a:xfrm>
              <a:off x="684067" y="1408881"/>
              <a:ext cx="356332" cy="15459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74" y="21600"/>
                  </a:moveTo>
                  <a:lnTo>
                    <a:pt x="0" y="230"/>
                  </a:lnTo>
                  <a:lnTo>
                    <a:pt x="2326" y="0"/>
                  </a:lnTo>
                  <a:lnTo>
                    <a:pt x="21600" y="21447"/>
                  </a:lnTo>
                  <a:lnTo>
                    <a:pt x="19274" y="2160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Oval">
              <a:extLst>
                <a:ext uri="{FF2B5EF4-FFF2-40B4-BE49-F238E27FC236}">
                  <a16:creationId xmlns:a16="http://schemas.microsoft.com/office/drawing/2014/main" id="{ADE5D152-4C22-40C6-874B-DA530F2C7F8E}"/>
                </a:ext>
              </a:extLst>
            </p:cNvPr>
            <p:cNvSpPr/>
            <p:nvPr/>
          </p:nvSpPr>
          <p:spPr>
            <a:xfrm>
              <a:off x="601837" y="1332132"/>
              <a:ext cx="186389" cy="169943"/>
            </a:xfrm>
            <a:prstGeom prst="ellipse">
              <a:avLst/>
            </a:prstGeom>
            <a:solidFill>
              <a:srgbClr val="F6F6F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Shape">
              <a:extLst>
                <a:ext uri="{FF2B5EF4-FFF2-40B4-BE49-F238E27FC236}">
                  <a16:creationId xmlns:a16="http://schemas.microsoft.com/office/drawing/2014/main" id="{E603F239-3151-4211-8835-B792D66F4BF0}"/>
                </a:ext>
              </a:extLst>
            </p:cNvPr>
            <p:cNvSpPr/>
            <p:nvPr/>
          </p:nvSpPr>
          <p:spPr>
            <a:xfrm>
              <a:off x="1528299" y="1408881"/>
              <a:ext cx="356332" cy="15459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26" y="21600"/>
                  </a:moveTo>
                  <a:lnTo>
                    <a:pt x="0" y="21447"/>
                  </a:lnTo>
                  <a:lnTo>
                    <a:pt x="19274" y="0"/>
                  </a:lnTo>
                  <a:lnTo>
                    <a:pt x="21600" y="230"/>
                  </a:lnTo>
                  <a:lnTo>
                    <a:pt x="2326" y="21600"/>
                  </a:lnTo>
                  <a:close/>
                </a:path>
              </a:pathLst>
            </a:custGeom>
            <a:solidFill>
              <a:srgbClr val="002D3D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Oval">
              <a:extLst>
                <a:ext uri="{FF2B5EF4-FFF2-40B4-BE49-F238E27FC236}">
                  <a16:creationId xmlns:a16="http://schemas.microsoft.com/office/drawing/2014/main" id="{452F6780-9320-463D-A651-424AF97D8DB0}"/>
                </a:ext>
              </a:extLst>
            </p:cNvPr>
            <p:cNvSpPr/>
            <p:nvPr/>
          </p:nvSpPr>
          <p:spPr>
            <a:xfrm>
              <a:off x="1780472" y="1332132"/>
              <a:ext cx="180907" cy="169943"/>
            </a:xfrm>
            <a:prstGeom prst="ellipse">
              <a:avLst/>
            </a:prstGeom>
            <a:solidFill>
              <a:srgbClr val="002D3D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Shape">
              <a:extLst>
                <a:ext uri="{FF2B5EF4-FFF2-40B4-BE49-F238E27FC236}">
                  <a16:creationId xmlns:a16="http://schemas.microsoft.com/office/drawing/2014/main" id="{7BFBE641-5328-4B5D-A1B4-5199A269BE92}"/>
                </a:ext>
              </a:extLst>
            </p:cNvPr>
            <p:cNvSpPr/>
            <p:nvPr/>
          </p:nvSpPr>
          <p:spPr>
            <a:xfrm>
              <a:off x="695030" y="2839690"/>
              <a:ext cx="1173154" cy="520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99" y="0"/>
                  </a:moveTo>
                  <a:lnTo>
                    <a:pt x="0" y="0"/>
                  </a:lnTo>
                  <a:lnTo>
                    <a:pt x="0" y="12505"/>
                  </a:lnTo>
                  <a:lnTo>
                    <a:pt x="2422" y="21600"/>
                  </a:lnTo>
                  <a:lnTo>
                    <a:pt x="19178" y="21600"/>
                  </a:lnTo>
                  <a:lnTo>
                    <a:pt x="21600" y="12505"/>
                  </a:lnTo>
                  <a:lnTo>
                    <a:pt x="21600" y="0"/>
                  </a:lnTo>
                  <a:lnTo>
                    <a:pt x="10699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Shape">
              <a:extLst>
                <a:ext uri="{FF2B5EF4-FFF2-40B4-BE49-F238E27FC236}">
                  <a16:creationId xmlns:a16="http://schemas.microsoft.com/office/drawing/2014/main" id="{39C203D6-D826-42D6-9711-0F2BE5649EA3}"/>
                </a:ext>
              </a:extLst>
            </p:cNvPr>
            <p:cNvSpPr/>
            <p:nvPr/>
          </p:nvSpPr>
          <p:spPr>
            <a:xfrm>
              <a:off x="645693" y="2889029"/>
              <a:ext cx="1277312" cy="1041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6200"/>
                    <a:pt x="21377" y="21600"/>
                    <a:pt x="20932" y="21600"/>
                  </a:cubicBezTo>
                  <a:cubicBezTo>
                    <a:pt x="668" y="21600"/>
                    <a:pt x="668" y="21600"/>
                    <a:pt x="668" y="21600"/>
                  </a:cubicBezTo>
                  <a:cubicBezTo>
                    <a:pt x="223" y="21600"/>
                    <a:pt x="0" y="16200"/>
                    <a:pt x="0" y="10800"/>
                  </a:cubicBezTo>
                  <a:cubicBezTo>
                    <a:pt x="0" y="5400"/>
                    <a:pt x="223" y="0"/>
                    <a:pt x="668" y="0"/>
                  </a:cubicBezTo>
                  <a:cubicBezTo>
                    <a:pt x="20932" y="0"/>
                    <a:pt x="20932" y="0"/>
                    <a:pt x="20932" y="0"/>
                  </a:cubicBezTo>
                  <a:cubicBezTo>
                    <a:pt x="21377" y="0"/>
                    <a:pt x="21600" y="5400"/>
                    <a:pt x="21600" y="1080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Shape">
              <a:extLst>
                <a:ext uri="{FF2B5EF4-FFF2-40B4-BE49-F238E27FC236}">
                  <a16:creationId xmlns:a16="http://schemas.microsoft.com/office/drawing/2014/main" id="{716019A9-6045-41E7-9AD5-E661EFAB3B74}"/>
                </a:ext>
              </a:extLst>
            </p:cNvPr>
            <p:cNvSpPr/>
            <p:nvPr/>
          </p:nvSpPr>
          <p:spPr>
            <a:xfrm>
              <a:off x="645693" y="3086382"/>
              <a:ext cx="1277312" cy="1041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6200"/>
                    <a:pt x="21377" y="21600"/>
                    <a:pt x="20932" y="21600"/>
                  </a:cubicBezTo>
                  <a:cubicBezTo>
                    <a:pt x="668" y="21600"/>
                    <a:pt x="668" y="21600"/>
                    <a:pt x="668" y="21600"/>
                  </a:cubicBezTo>
                  <a:cubicBezTo>
                    <a:pt x="223" y="21600"/>
                    <a:pt x="0" y="16200"/>
                    <a:pt x="0" y="10800"/>
                  </a:cubicBezTo>
                  <a:cubicBezTo>
                    <a:pt x="0" y="5400"/>
                    <a:pt x="223" y="0"/>
                    <a:pt x="668" y="0"/>
                  </a:cubicBezTo>
                  <a:cubicBezTo>
                    <a:pt x="20932" y="0"/>
                    <a:pt x="20932" y="0"/>
                    <a:pt x="20932" y="0"/>
                  </a:cubicBezTo>
                  <a:cubicBezTo>
                    <a:pt x="21377" y="0"/>
                    <a:pt x="21600" y="5400"/>
                    <a:pt x="21600" y="1080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Shape">
              <a:extLst>
                <a:ext uri="{FF2B5EF4-FFF2-40B4-BE49-F238E27FC236}">
                  <a16:creationId xmlns:a16="http://schemas.microsoft.com/office/drawing/2014/main" id="{5D45DA95-F32A-4053-A498-C46256223D18}"/>
                </a:ext>
              </a:extLst>
            </p:cNvPr>
            <p:cNvSpPr/>
            <p:nvPr/>
          </p:nvSpPr>
          <p:spPr>
            <a:xfrm>
              <a:off x="749851" y="3311145"/>
              <a:ext cx="1068996" cy="877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343"/>
                  </a:moveTo>
                  <a:cubicBezTo>
                    <a:pt x="21600" y="15429"/>
                    <a:pt x="21067" y="21600"/>
                    <a:pt x="20800" y="21600"/>
                  </a:cubicBezTo>
                  <a:cubicBezTo>
                    <a:pt x="800" y="21600"/>
                    <a:pt x="800" y="21600"/>
                    <a:pt x="800" y="21600"/>
                  </a:cubicBezTo>
                  <a:cubicBezTo>
                    <a:pt x="533" y="21600"/>
                    <a:pt x="0" y="15429"/>
                    <a:pt x="0" y="12343"/>
                  </a:cubicBezTo>
                  <a:cubicBezTo>
                    <a:pt x="0" y="6171"/>
                    <a:pt x="533" y="0"/>
                    <a:pt x="800" y="0"/>
                  </a:cubicBezTo>
                  <a:cubicBezTo>
                    <a:pt x="20800" y="0"/>
                    <a:pt x="20800" y="0"/>
                    <a:pt x="20800" y="0"/>
                  </a:cubicBezTo>
                  <a:cubicBezTo>
                    <a:pt x="21067" y="0"/>
                    <a:pt x="21600" y="6171"/>
                    <a:pt x="21600" y="12343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3" name="Shape">
              <a:extLst>
                <a:ext uri="{FF2B5EF4-FFF2-40B4-BE49-F238E27FC236}">
                  <a16:creationId xmlns:a16="http://schemas.microsoft.com/office/drawing/2014/main" id="{DB3DEC40-B631-4F2F-A434-07CF6CB393AF}"/>
                </a:ext>
              </a:extLst>
            </p:cNvPr>
            <p:cNvSpPr/>
            <p:nvPr/>
          </p:nvSpPr>
          <p:spPr>
            <a:xfrm>
              <a:off x="1276125" y="0"/>
              <a:ext cx="1189601" cy="28396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80" y="13438"/>
                  </a:moveTo>
                  <a:cubicBezTo>
                    <a:pt x="20400" y="12044"/>
                    <a:pt x="21600" y="10551"/>
                    <a:pt x="21600" y="8859"/>
                  </a:cubicBezTo>
                  <a:cubicBezTo>
                    <a:pt x="21600" y="3982"/>
                    <a:pt x="1200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10800" y="21600"/>
                    <a:pt x="10800" y="21600"/>
                    <a:pt x="10800" y="21600"/>
                  </a:cubicBezTo>
                  <a:cubicBezTo>
                    <a:pt x="10800" y="21600"/>
                    <a:pt x="9840" y="19012"/>
                    <a:pt x="18720" y="13438"/>
                  </a:cubicBezTo>
                  <a:cubicBezTo>
                    <a:pt x="18480" y="13438"/>
                    <a:pt x="18480" y="13438"/>
                    <a:pt x="18480" y="13438"/>
                  </a:cubicBezTo>
                  <a:cubicBezTo>
                    <a:pt x="18480" y="13438"/>
                    <a:pt x="18480" y="13438"/>
                    <a:pt x="18480" y="13438"/>
                  </a:cubicBez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Shape">
              <a:extLst>
                <a:ext uri="{FF2B5EF4-FFF2-40B4-BE49-F238E27FC236}">
                  <a16:creationId xmlns:a16="http://schemas.microsoft.com/office/drawing/2014/main" id="{0111A926-18F6-433C-9E2F-40DCECDD2AE4}"/>
                </a:ext>
              </a:extLst>
            </p:cNvPr>
            <p:cNvSpPr/>
            <p:nvPr/>
          </p:nvSpPr>
          <p:spPr>
            <a:xfrm>
              <a:off x="1276125" y="1238938"/>
              <a:ext cx="592060" cy="252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779"/>
                  </a:moveTo>
                  <a:cubicBezTo>
                    <a:pt x="20160" y="13642"/>
                    <a:pt x="19200" y="12505"/>
                    <a:pt x="17760" y="10232"/>
                  </a:cubicBezTo>
                  <a:cubicBezTo>
                    <a:pt x="16800" y="9095"/>
                    <a:pt x="15360" y="7958"/>
                    <a:pt x="14400" y="5684"/>
                  </a:cubicBezTo>
                  <a:cubicBezTo>
                    <a:pt x="13920" y="5684"/>
                    <a:pt x="13920" y="5684"/>
                    <a:pt x="13920" y="5684"/>
                  </a:cubicBezTo>
                  <a:cubicBezTo>
                    <a:pt x="13440" y="6821"/>
                    <a:pt x="13440" y="6821"/>
                    <a:pt x="13440" y="6821"/>
                  </a:cubicBezTo>
                  <a:cubicBezTo>
                    <a:pt x="12960" y="9095"/>
                    <a:pt x="12000" y="11368"/>
                    <a:pt x="11040" y="13642"/>
                  </a:cubicBezTo>
                  <a:cubicBezTo>
                    <a:pt x="9120" y="10232"/>
                    <a:pt x="9120" y="10232"/>
                    <a:pt x="9120" y="10232"/>
                  </a:cubicBezTo>
                  <a:cubicBezTo>
                    <a:pt x="8640" y="9095"/>
                    <a:pt x="8640" y="9095"/>
                    <a:pt x="8640" y="9095"/>
                  </a:cubicBezTo>
                  <a:cubicBezTo>
                    <a:pt x="7680" y="10232"/>
                    <a:pt x="7680" y="10232"/>
                    <a:pt x="7680" y="10232"/>
                  </a:cubicBezTo>
                  <a:cubicBezTo>
                    <a:pt x="7680" y="12505"/>
                    <a:pt x="7680" y="12505"/>
                    <a:pt x="7680" y="12505"/>
                  </a:cubicBezTo>
                  <a:cubicBezTo>
                    <a:pt x="6720" y="9095"/>
                    <a:pt x="6720" y="9095"/>
                    <a:pt x="6720" y="9095"/>
                  </a:cubicBezTo>
                  <a:cubicBezTo>
                    <a:pt x="6240" y="6821"/>
                    <a:pt x="5760" y="4547"/>
                    <a:pt x="5280" y="2274"/>
                  </a:cubicBezTo>
                  <a:cubicBezTo>
                    <a:pt x="4800" y="0"/>
                    <a:pt x="4800" y="0"/>
                    <a:pt x="4800" y="0"/>
                  </a:cubicBezTo>
                  <a:cubicBezTo>
                    <a:pt x="3840" y="2274"/>
                    <a:pt x="3840" y="2274"/>
                    <a:pt x="3840" y="2274"/>
                  </a:cubicBezTo>
                  <a:cubicBezTo>
                    <a:pt x="2400" y="4547"/>
                    <a:pt x="1440" y="7958"/>
                    <a:pt x="0" y="10232"/>
                  </a:cubicBezTo>
                  <a:cubicBezTo>
                    <a:pt x="0" y="10232"/>
                    <a:pt x="0" y="10232"/>
                    <a:pt x="0" y="10232"/>
                  </a:cubicBezTo>
                  <a:cubicBezTo>
                    <a:pt x="0" y="18189"/>
                    <a:pt x="0" y="18189"/>
                    <a:pt x="0" y="18189"/>
                  </a:cubicBezTo>
                  <a:cubicBezTo>
                    <a:pt x="1920" y="13642"/>
                    <a:pt x="1920" y="13642"/>
                    <a:pt x="1920" y="13642"/>
                  </a:cubicBezTo>
                  <a:cubicBezTo>
                    <a:pt x="2880" y="12505"/>
                    <a:pt x="3360" y="10232"/>
                    <a:pt x="4320" y="9095"/>
                  </a:cubicBezTo>
                  <a:cubicBezTo>
                    <a:pt x="4320" y="9095"/>
                    <a:pt x="4800" y="10232"/>
                    <a:pt x="4800" y="11368"/>
                  </a:cubicBezTo>
                  <a:cubicBezTo>
                    <a:pt x="6240" y="18189"/>
                    <a:pt x="6240" y="18189"/>
                    <a:pt x="6240" y="18189"/>
                  </a:cubicBezTo>
                  <a:cubicBezTo>
                    <a:pt x="7200" y="21600"/>
                    <a:pt x="7200" y="21600"/>
                    <a:pt x="7200" y="21600"/>
                  </a:cubicBezTo>
                  <a:cubicBezTo>
                    <a:pt x="8160" y="18189"/>
                    <a:pt x="8160" y="18189"/>
                    <a:pt x="8160" y="18189"/>
                  </a:cubicBezTo>
                  <a:cubicBezTo>
                    <a:pt x="8640" y="15916"/>
                    <a:pt x="8640" y="15916"/>
                    <a:pt x="8640" y="15916"/>
                  </a:cubicBezTo>
                  <a:cubicBezTo>
                    <a:pt x="10560" y="18189"/>
                    <a:pt x="10560" y="18189"/>
                    <a:pt x="10560" y="18189"/>
                  </a:cubicBezTo>
                  <a:cubicBezTo>
                    <a:pt x="11040" y="19326"/>
                    <a:pt x="11040" y="19326"/>
                    <a:pt x="11040" y="19326"/>
                  </a:cubicBezTo>
                  <a:cubicBezTo>
                    <a:pt x="11520" y="18189"/>
                    <a:pt x="11520" y="18189"/>
                    <a:pt x="11520" y="18189"/>
                  </a:cubicBezTo>
                  <a:cubicBezTo>
                    <a:pt x="12480" y="14779"/>
                    <a:pt x="13440" y="12505"/>
                    <a:pt x="14400" y="9095"/>
                  </a:cubicBezTo>
                  <a:cubicBezTo>
                    <a:pt x="15360" y="10232"/>
                    <a:pt x="16320" y="11368"/>
                    <a:pt x="17760" y="12505"/>
                  </a:cubicBezTo>
                  <a:cubicBezTo>
                    <a:pt x="18720" y="13642"/>
                    <a:pt x="20160" y="14779"/>
                    <a:pt x="21600" y="14779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Shape">
              <a:extLst>
                <a:ext uri="{FF2B5EF4-FFF2-40B4-BE49-F238E27FC236}">
                  <a16:creationId xmlns:a16="http://schemas.microsoft.com/office/drawing/2014/main" id="{7C7641C9-EFA0-4B09-8B39-C560494D662D}"/>
                </a:ext>
              </a:extLst>
            </p:cNvPr>
            <p:cNvSpPr/>
            <p:nvPr/>
          </p:nvSpPr>
          <p:spPr>
            <a:xfrm>
              <a:off x="1528299" y="1408881"/>
              <a:ext cx="356332" cy="15459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26" y="21600"/>
                  </a:moveTo>
                  <a:lnTo>
                    <a:pt x="0" y="21447"/>
                  </a:lnTo>
                  <a:lnTo>
                    <a:pt x="19274" y="0"/>
                  </a:lnTo>
                  <a:lnTo>
                    <a:pt x="21600" y="230"/>
                  </a:lnTo>
                  <a:lnTo>
                    <a:pt x="2326" y="2160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Oval">
              <a:extLst>
                <a:ext uri="{FF2B5EF4-FFF2-40B4-BE49-F238E27FC236}">
                  <a16:creationId xmlns:a16="http://schemas.microsoft.com/office/drawing/2014/main" id="{18FAD375-EF6B-4D8B-98FF-10AA56DDD499}"/>
                </a:ext>
              </a:extLst>
            </p:cNvPr>
            <p:cNvSpPr/>
            <p:nvPr/>
          </p:nvSpPr>
          <p:spPr>
            <a:xfrm>
              <a:off x="1780472" y="1332132"/>
              <a:ext cx="180907" cy="169943"/>
            </a:xfrm>
            <a:prstGeom prst="ellipse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Shape">
              <a:extLst>
                <a:ext uri="{FF2B5EF4-FFF2-40B4-BE49-F238E27FC236}">
                  <a16:creationId xmlns:a16="http://schemas.microsoft.com/office/drawing/2014/main" id="{C578BB90-33AD-4B9E-AF82-B847E5A2BE20}"/>
                </a:ext>
              </a:extLst>
            </p:cNvPr>
            <p:cNvSpPr/>
            <p:nvPr/>
          </p:nvSpPr>
          <p:spPr>
            <a:xfrm>
              <a:off x="1276125" y="2839690"/>
              <a:ext cx="592059" cy="5207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6800" y="21600"/>
                  </a:lnTo>
                  <a:lnTo>
                    <a:pt x="21600" y="12505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:a16="http://schemas.microsoft.com/office/drawing/2014/main" id="{76CC4610-93A9-4C07-AE8E-34DB1BFB780E}"/>
                </a:ext>
              </a:extLst>
            </p:cNvPr>
            <p:cNvSpPr/>
            <p:nvPr/>
          </p:nvSpPr>
          <p:spPr>
            <a:xfrm>
              <a:off x="1276125" y="2889029"/>
              <a:ext cx="646880" cy="1041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20278" y="21600"/>
                    <a:pt x="20278" y="21600"/>
                    <a:pt x="20278" y="21600"/>
                  </a:cubicBezTo>
                  <a:cubicBezTo>
                    <a:pt x="21159" y="21600"/>
                    <a:pt x="21600" y="16200"/>
                    <a:pt x="21600" y="10800"/>
                  </a:cubicBezTo>
                  <a:cubicBezTo>
                    <a:pt x="21600" y="5400"/>
                    <a:pt x="21159" y="0"/>
                    <a:pt x="20278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Shape">
              <a:extLst>
                <a:ext uri="{FF2B5EF4-FFF2-40B4-BE49-F238E27FC236}">
                  <a16:creationId xmlns:a16="http://schemas.microsoft.com/office/drawing/2014/main" id="{BE1FB195-59F9-49FB-9AF5-6220572EB6DC}"/>
                </a:ext>
              </a:extLst>
            </p:cNvPr>
            <p:cNvSpPr/>
            <p:nvPr/>
          </p:nvSpPr>
          <p:spPr>
            <a:xfrm>
              <a:off x="1276125" y="3086382"/>
              <a:ext cx="646880" cy="1041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2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20278" y="21600"/>
                    <a:pt x="20278" y="21600"/>
                    <a:pt x="20278" y="21600"/>
                  </a:cubicBezTo>
                  <a:cubicBezTo>
                    <a:pt x="21159" y="21600"/>
                    <a:pt x="21600" y="16200"/>
                    <a:pt x="21600" y="10800"/>
                  </a:cubicBezTo>
                  <a:cubicBezTo>
                    <a:pt x="21600" y="5400"/>
                    <a:pt x="21159" y="0"/>
                    <a:pt x="20278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:a16="http://schemas.microsoft.com/office/drawing/2014/main" id="{AA3A6885-6595-42D2-80F0-A07A9FC5D5CC}"/>
                </a:ext>
              </a:extLst>
            </p:cNvPr>
            <p:cNvSpPr/>
            <p:nvPr/>
          </p:nvSpPr>
          <p:spPr>
            <a:xfrm>
              <a:off x="1276125" y="3311145"/>
              <a:ext cx="542722" cy="877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20020" y="21600"/>
                    <a:pt x="20020" y="21600"/>
                    <a:pt x="20020" y="21600"/>
                  </a:cubicBezTo>
                  <a:cubicBezTo>
                    <a:pt x="20546" y="21600"/>
                    <a:pt x="21600" y="15429"/>
                    <a:pt x="21600" y="12343"/>
                  </a:cubicBezTo>
                  <a:cubicBezTo>
                    <a:pt x="21600" y="6171"/>
                    <a:pt x="20546" y="0"/>
                    <a:pt x="20020" y="0"/>
                  </a:cubicBez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6D09FD4A-C509-4F55-8775-B99D75F74F10}"/>
              </a:ext>
            </a:extLst>
          </p:cNvPr>
          <p:cNvCxnSpPr>
            <a:cxnSpLocks/>
            <a:stCxn id="53" idx="0"/>
          </p:cNvCxnSpPr>
          <p:nvPr/>
        </p:nvCxnSpPr>
        <p:spPr>
          <a:xfrm flipV="1">
            <a:off x="2425924" y="2948304"/>
            <a:ext cx="1708414" cy="1528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90261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9D5B396-13D0-412F-A010-810C7FE76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Eksempler på forhold som bygger tilli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0000A1B-5DB9-4FE4-9098-8E5EE17B92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2" y="1187251"/>
            <a:ext cx="5750074" cy="4763266"/>
          </a:xfrm>
        </p:spPr>
        <p:txBody>
          <a:bodyPr anchor="ctr"/>
          <a:lstStyle/>
          <a:p>
            <a:pPr marL="342900" indent="-342900"/>
            <a:r>
              <a:rPr lang="nb-NO" dirty="0"/>
              <a:t>Forståelse for hverandre</a:t>
            </a:r>
          </a:p>
          <a:p>
            <a:pPr marL="342900" indent="-342900"/>
            <a:r>
              <a:rPr lang="nb-NO" dirty="0"/>
              <a:t>Trygghet</a:t>
            </a:r>
          </a:p>
          <a:p>
            <a:pPr marL="342900" indent="-342900"/>
            <a:r>
              <a:rPr lang="nb-NO" dirty="0"/>
              <a:t>Eierskap og lojalitet til mål og planer </a:t>
            </a:r>
          </a:p>
          <a:p>
            <a:pPr marL="342900" indent="-342900"/>
            <a:r>
              <a:rPr lang="nb-NO" dirty="0"/>
              <a:t>Løse ting sammen</a:t>
            </a:r>
          </a:p>
          <a:p>
            <a:pPr marL="342900" indent="-342900"/>
            <a:r>
              <a:rPr lang="nb-NO" dirty="0"/>
              <a:t>Åpenhet og transparens</a:t>
            </a:r>
          </a:p>
          <a:p>
            <a:pPr marL="342900" indent="-342900"/>
            <a:r>
              <a:rPr lang="nb-NO" dirty="0"/>
              <a:t>Vise respekt og jevnbyrdighet </a:t>
            </a:r>
          </a:p>
          <a:p>
            <a:pPr marL="342900" indent="-342900"/>
            <a:r>
              <a:rPr lang="nb-NO" dirty="0"/>
              <a:t>Adressere utfordringer og løse gjennom forståelse </a:t>
            </a:r>
          </a:p>
          <a:p>
            <a:pPr marL="342900" indent="-342900"/>
            <a:r>
              <a:rPr lang="nb-NO" dirty="0"/>
              <a:t>Være rettferdig - gi og ta</a:t>
            </a:r>
          </a:p>
          <a:p>
            <a:pPr marL="342900" indent="-342900"/>
            <a:r>
              <a:rPr lang="nb-NO" dirty="0"/>
              <a:t>Fremsnakke folk - skape engasjement</a:t>
            </a:r>
          </a:p>
          <a:p>
            <a:pPr marL="342900" indent="-342900"/>
            <a:r>
              <a:rPr lang="nb-NO" dirty="0"/>
              <a:t>Kjenne hverand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D17E611-A34D-4283-B3A7-BAB91429901D}"/>
              </a:ext>
            </a:extLst>
          </p:cNvPr>
          <p:cNvSpPr txBox="1"/>
          <p:nvPr/>
        </p:nvSpPr>
        <p:spPr>
          <a:xfrm>
            <a:off x="6545948" y="4466592"/>
            <a:ext cx="5528976" cy="17482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år det strammer seg til: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sng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tsett med dette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g ikke hopp i skyttergravene!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rever trening!</a:t>
            </a:r>
          </a:p>
        </p:txBody>
      </p:sp>
      <p:pic>
        <p:nvPicPr>
          <p:cNvPr id="3" name="Bilde 2" descr="Et bilde som inneholder solnedgang&#10;&#10;Automatisk generert beskrivelse">
            <a:extLst>
              <a:ext uri="{FF2B5EF4-FFF2-40B4-BE49-F238E27FC236}">
                <a16:creationId xmlns:a16="http://schemas.microsoft.com/office/drawing/2014/main" id="{B222B532-EEAF-47DE-A8CD-9B1B258F99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263" y="0"/>
            <a:ext cx="5359165" cy="3008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78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67C2CE-6E00-41B9-9AEB-8F1D2B049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egrert organisasjon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0AD71DC0-1F33-4275-9E9B-69C55AFC34C6}"/>
              </a:ext>
            </a:extLst>
          </p:cNvPr>
          <p:cNvSpPr/>
          <p:nvPr/>
        </p:nvSpPr>
        <p:spPr>
          <a:xfrm>
            <a:off x="665506" y="1206313"/>
            <a:ext cx="6096000" cy="169828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iktige prinsipper for samhandling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Én organisasjon mot ett mål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gen doble funksjoner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ruke folk riktig – over tid 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ABB3216-3530-444D-8C8B-66A91011F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1575" y="1866900"/>
            <a:ext cx="6793226" cy="3959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8063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 bwMode="auto">
          <a:xfrm>
            <a:off x="5087889" y="836712"/>
            <a:ext cx="1440160" cy="1368152"/>
          </a:xfrm>
          <a:prstGeom prst="ellipse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4" name="Ellipse 3"/>
          <p:cNvSpPr/>
          <p:nvPr/>
        </p:nvSpPr>
        <p:spPr bwMode="auto">
          <a:xfrm>
            <a:off x="2866027" y="2192339"/>
            <a:ext cx="1440160" cy="136815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5" name="Ellipse 4"/>
          <p:cNvSpPr/>
          <p:nvPr/>
        </p:nvSpPr>
        <p:spPr bwMode="auto">
          <a:xfrm>
            <a:off x="7392144" y="2241988"/>
            <a:ext cx="1440160" cy="1368152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10" name="TekstSylinder 9"/>
          <p:cNvSpPr txBox="1"/>
          <p:nvPr/>
        </p:nvSpPr>
        <p:spPr>
          <a:xfrm>
            <a:off x="5268289" y="1320792"/>
            <a:ext cx="928524" cy="307777"/>
          </a:xfrm>
          <a:prstGeom prst="rect">
            <a:avLst/>
          </a:prstGeom>
          <a:noFill/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nb-NO" sz="1400" dirty="0"/>
              <a:t>Byggherre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7512576" y="2786491"/>
            <a:ext cx="1072730" cy="307777"/>
          </a:xfrm>
          <a:prstGeom prst="rect">
            <a:avLst/>
          </a:prstGeom>
          <a:noFill/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nb-NO" sz="1400" dirty="0"/>
              <a:t>Entreprenør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3122913" y="2689919"/>
            <a:ext cx="822533" cy="307777"/>
          </a:xfrm>
          <a:prstGeom prst="rect">
            <a:avLst/>
          </a:prstGeom>
          <a:noFill/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nb-NO" sz="1400" dirty="0"/>
              <a:t>Rådgiver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6014282" y="5759660"/>
            <a:ext cx="1253265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Leverandør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7267546" y="4060836"/>
            <a:ext cx="1873537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Underentreprenør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6853486" y="5026268"/>
            <a:ext cx="1885580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Underentreprenør</a:t>
            </a:r>
          </a:p>
        </p:txBody>
      </p:sp>
      <p:sp>
        <p:nvSpPr>
          <p:cNvPr id="16" name="TekstSylinder 15"/>
          <p:cNvSpPr txBox="1"/>
          <p:nvPr/>
        </p:nvSpPr>
        <p:spPr>
          <a:xfrm>
            <a:off x="3333135" y="5004961"/>
            <a:ext cx="1090774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Arkitekt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2728452" y="4109241"/>
            <a:ext cx="1151391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Konsulent</a:t>
            </a:r>
          </a:p>
        </p:txBody>
      </p:sp>
      <p:sp>
        <p:nvSpPr>
          <p:cNvPr id="18" name="TekstSylinder 17"/>
          <p:cNvSpPr txBox="1"/>
          <p:nvPr/>
        </p:nvSpPr>
        <p:spPr>
          <a:xfrm>
            <a:off x="4004367" y="5728516"/>
            <a:ext cx="1090774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Rådgiver</a:t>
            </a:r>
          </a:p>
        </p:txBody>
      </p:sp>
      <p:cxnSp>
        <p:nvCxnSpPr>
          <p:cNvPr id="21" name="Rett pilkobling 20"/>
          <p:cNvCxnSpPr/>
          <p:nvPr/>
        </p:nvCxnSpPr>
        <p:spPr bwMode="auto">
          <a:xfrm flipV="1">
            <a:off x="4098020" y="4011741"/>
            <a:ext cx="756245" cy="34006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tt pilkobling 25"/>
          <p:cNvCxnSpPr/>
          <p:nvPr/>
        </p:nvCxnSpPr>
        <p:spPr bwMode="auto">
          <a:xfrm flipV="1">
            <a:off x="4585611" y="4451226"/>
            <a:ext cx="635685" cy="6866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Rett pilkobling 26"/>
          <p:cNvCxnSpPr/>
          <p:nvPr/>
        </p:nvCxnSpPr>
        <p:spPr bwMode="auto">
          <a:xfrm flipV="1">
            <a:off x="5048428" y="4662206"/>
            <a:ext cx="384915" cy="108072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Rett pilkobling 30"/>
          <p:cNvCxnSpPr/>
          <p:nvPr/>
        </p:nvCxnSpPr>
        <p:spPr bwMode="auto">
          <a:xfrm flipH="1" flipV="1">
            <a:off x="6602617" y="3973067"/>
            <a:ext cx="642665" cy="27511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Rett pilkobling 31"/>
          <p:cNvCxnSpPr/>
          <p:nvPr/>
        </p:nvCxnSpPr>
        <p:spPr bwMode="auto">
          <a:xfrm flipH="1" flipV="1">
            <a:off x="6354355" y="4430168"/>
            <a:ext cx="496524" cy="565187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Rett pilkobling 32"/>
          <p:cNvCxnSpPr/>
          <p:nvPr/>
        </p:nvCxnSpPr>
        <p:spPr bwMode="auto">
          <a:xfrm flipH="1" flipV="1">
            <a:off x="6014283" y="4662206"/>
            <a:ext cx="340072" cy="106631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Ellipse 22"/>
          <p:cNvSpPr/>
          <p:nvPr/>
        </p:nvSpPr>
        <p:spPr bwMode="auto">
          <a:xfrm>
            <a:off x="5282916" y="3125080"/>
            <a:ext cx="1065750" cy="1059748"/>
          </a:xfrm>
          <a:prstGeom prst="ellipse">
            <a:avLst/>
          </a:prstGeom>
          <a:solidFill>
            <a:schemeClr val="accent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34" name="TekstSylinder 33"/>
          <p:cNvSpPr txBox="1"/>
          <p:nvPr/>
        </p:nvSpPr>
        <p:spPr>
          <a:xfrm>
            <a:off x="5195857" y="3460966"/>
            <a:ext cx="944426" cy="307777"/>
          </a:xfrm>
          <a:prstGeom prst="rect">
            <a:avLst/>
          </a:prstGeom>
          <a:noFill/>
          <a:ln w="12700">
            <a:noFill/>
          </a:ln>
        </p:spPr>
        <p:txBody>
          <a:bodyPr wrap="none" rtlCol="0">
            <a:spAutoFit/>
          </a:bodyPr>
          <a:lstStyle/>
          <a:p>
            <a:r>
              <a:rPr lang="nb-NO" sz="1400" b="1" dirty="0">
                <a:solidFill>
                  <a:schemeClr val="bg1"/>
                </a:solidFill>
              </a:rPr>
              <a:t>Prosjektet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9C197E17-DD6A-429F-B652-91AD8290E2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0298" y="4351808"/>
            <a:ext cx="2515632" cy="188212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D03F1B4C-2517-4E1C-B6E5-E9A64B46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400" dirty="0"/>
              <a:t>Felles mål – prosjektets beste!</a:t>
            </a:r>
            <a:endParaRPr lang="nb-NO" dirty="0"/>
          </a:p>
        </p:txBody>
      </p:sp>
      <p:cxnSp>
        <p:nvCxnSpPr>
          <p:cNvPr id="28" name="Rett pilkobling 27">
            <a:extLst>
              <a:ext uri="{FF2B5EF4-FFF2-40B4-BE49-F238E27FC236}">
                <a16:creationId xmlns:a16="http://schemas.microsoft.com/office/drawing/2014/main" id="{989E90A9-64D9-4ADB-8111-692891653D2C}"/>
              </a:ext>
            </a:extLst>
          </p:cNvPr>
          <p:cNvCxnSpPr>
            <a:cxnSpLocks/>
          </p:cNvCxnSpPr>
          <p:nvPr/>
        </p:nvCxnSpPr>
        <p:spPr bwMode="auto">
          <a:xfrm flipH="1">
            <a:off x="5807968" y="2360982"/>
            <a:ext cx="1" cy="529248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Rett pilkobling 34">
            <a:extLst>
              <a:ext uri="{FF2B5EF4-FFF2-40B4-BE49-F238E27FC236}">
                <a16:creationId xmlns:a16="http://schemas.microsoft.com/office/drawing/2014/main" id="{4CAEFD22-0439-409E-A93D-6E5AA9D49B3C}"/>
              </a:ext>
            </a:extLst>
          </p:cNvPr>
          <p:cNvCxnSpPr>
            <a:cxnSpLocks/>
          </p:cNvCxnSpPr>
          <p:nvPr/>
        </p:nvCxnSpPr>
        <p:spPr bwMode="auto">
          <a:xfrm flipH="1">
            <a:off x="6528049" y="3132641"/>
            <a:ext cx="603218" cy="246975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Rett pilkobling 35">
            <a:extLst>
              <a:ext uri="{FF2B5EF4-FFF2-40B4-BE49-F238E27FC236}">
                <a16:creationId xmlns:a16="http://schemas.microsoft.com/office/drawing/2014/main" id="{D77AD961-AC69-41B2-8CC0-7EC97389E368}"/>
              </a:ext>
            </a:extLst>
          </p:cNvPr>
          <p:cNvCxnSpPr>
            <a:cxnSpLocks/>
          </p:cNvCxnSpPr>
          <p:nvPr/>
        </p:nvCxnSpPr>
        <p:spPr bwMode="auto">
          <a:xfrm>
            <a:off x="4348392" y="3256128"/>
            <a:ext cx="664929" cy="2259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088956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945FA7EC-8719-4797-A495-FF16AE676D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Vederlag og insentiver</a:t>
            </a:r>
          </a:p>
        </p:txBody>
      </p:sp>
    </p:spTree>
    <p:extLst>
      <p:ext uri="{BB962C8B-B14F-4D97-AF65-F5344CB8AC3E}">
        <p14:creationId xmlns:p14="http://schemas.microsoft.com/office/powerpoint/2010/main" val="33108273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057385-8352-4A14-9726-569986A87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spill i Fase 1 og Fase 2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DB0440C3-1C55-48D2-B91D-FCEFD5B8E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4128" y="880651"/>
            <a:ext cx="9583743" cy="509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788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227F94D-7B50-4D04-A42A-E7C94FF42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derlag og insentiver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1546B4DE-BF2A-4ED8-9C65-C60F7FE0E5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8906" y="1702054"/>
            <a:ext cx="9414188" cy="420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337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tel 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sentiver i prosjekt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8029218" y="269546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17BDFB1-851E-4B62-8C2F-E2524F5F3100}"/>
              </a:ext>
            </a:extLst>
          </p:cNvPr>
          <p:cNvSpPr txBox="1"/>
          <p:nvPr/>
        </p:nvSpPr>
        <p:spPr>
          <a:xfrm>
            <a:off x="1596684" y="1255542"/>
            <a:ext cx="7589520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I forhold til f.eks.:</a:t>
            </a:r>
          </a:p>
          <a:p>
            <a:endParaRPr lang="nb-NO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dirty="0"/>
              <a:t>HM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dirty="0"/>
              <a:t>Bærekraf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dirty="0"/>
              <a:t>Kvalite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dirty="0"/>
              <a:t>Ti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dirty="0"/>
              <a:t>Andre?</a:t>
            </a:r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856822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95773AC7-2783-42BB-A5A2-B61D45B9D6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err="1"/>
              <a:t>suksessFaktor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13112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611275F1-2334-4A39-B416-43D14AF55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uksessfaktorer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AB52B932-CB2B-4F3A-9277-4C72F59FE512}"/>
              </a:ext>
            </a:extLst>
          </p:cNvPr>
          <p:cNvSpPr txBox="1">
            <a:spLocks/>
          </p:cNvSpPr>
          <p:nvPr/>
        </p:nvSpPr>
        <p:spPr>
          <a:xfrm>
            <a:off x="342902" y="1187251"/>
            <a:ext cx="11506198" cy="4763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nb-NO" sz="1800" dirty="0"/>
              <a:t>Forankring i toppledelsen</a:t>
            </a:r>
          </a:p>
          <a:p>
            <a:pPr>
              <a:lnSpc>
                <a:spcPct val="100000"/>
              </a:lnSpc>
            </a:pPr>
            <a:r>
              <a:rPr lang="nb-NO" sz="1800" dirty="0"/>
              <a:t>Gjensidig tillit mellom partene – åpen og ærlig kommunikasjon</a:t>
            </a:r>
          </a:p>
          <a:p>
            <a:pPr>
              <a:lnSpc>
                <a:spcPct val="100000"/>
              </a:lnSpc>
            </a:pPr>
            <a:r>
              <a:rPr lang="nb-NO" sz="1800" dirty="0"/>
              <a:t>Eierskap og forståelse av samspillsprosessen</a:t>
            </a:r>
          </a:p>
          <a:p>
            <a:pPr>
              <a:lnSpc>
                <a:spcPct val="100000"/>
              </a:lnSpc>
            </a:pPr>
            <a:r>
              <a:rPr lang="nb-NO" sz="1800" dirty="0"/>
              <a:t>Avklaring av klare felles mål og tiltaksplan for måloppnåelse</a:t>
            </a:r>
          </a:p>
          <a:p>
            <a:pPr>
              <a:lnSpc>
                <a:spcPct val="100000"/>
              </a:lnSpc>
            </a:pPr>
            <a:r>
              <a:rPr lang="nb-NO" sz="1800" kern="0" dirty="0">
                <a:solidFill>
                  <a:srgbClr val="000000"/>
                </a:solidFill>
                <a:ea typeface="MS PGothic" pitchFamily="34" charset="-128"/>
              </a:rPr>
              <a:t>Designe modellen slik at den støtter prosjektmålene</a:t>
            </a:r>
          </a:p>
          <a:p>
            <a:pPr>
              <a:lnSpc>
                <a:spcPct val="100000"/>
              </a:lnSpc>
            </a:pPr>
            <a:r>
              <a:rPr lang="nb-NO" sz="1800" kern="0" dirty="0">
                <a:solidFill>
                  <a:srgbClr val="000000"/>
                </a:solidFill>
                <a:ea typeface="MS PGothic" pitchFamily="34" charset="-128"/>
              </a:rPr>
              <a:t>Lag en kontrakt som er attraktiv for potensielle tilbydere</a:t>
            </a:r>
          </a:p>
          <a:p>
            <a:pPr>
              <a:lnSpc>
                <a:spcPct val="100000"/>
              </a:lnSpc>
            </a:pPr>
            <a:r>
              <a:rPr lang="nb-NO" sz="1800" dirty="0">
                <a:solidFill>
                  <a:srgbClr val="000000"/>
                </a:solidFill>
                <a:ea typeface="MS PGothic" pitchFamily="34" charset="-128"/>
              </a:rPr>
              <a:t>Fokus på lagånd, felles forståelse og personlige bånd</a:t>
            </a:r>
          </a:p>
          <a:p>
            <a:pPr>
              <a:lnSpc>
                <a:spcPct val="100000"/>
              </a:lnSpc>
            </a:pPr>
            <a:r>
              <a:rPr lang="nb-NO" sz="1800" dirty="0">
                <a:solidFill>
                  <a:srgbClr val="000000"/>
                </a:solidFill>
                <a:ea typeface="MS PGothic" pitchFamily="34" charset="-128"/>
              </a:rPr>
              <a:t>Stram struktur, disiplin og stor grad av delegering</a:t>
            </a:r>
          </a:p>
          <a:p>
            <a:pPr>
              <a:lnSpc>
                <a:spcPct val="100000"/>
              </a:lnSpc>
            </a:pPr>
            <a:r>
              <a:rPr lang="nb-NO" sz="1800" dirty="0">
                <a:solidFill>
                  <a:srgbClr val="000000"/>
                </a:solidFill>
                <a:ea typeface="MS PGothic" pitchFamily="34" charset="-128"/>
              </a:rPr>
              <a:t>God prosjektstyring</a:t>
            </a:r>
          </a:p>
          <a:p>
            <a:pPr>
              <a:lnSpc>
                <a:spcPct val="100000"/>
              </a:lnSpc>
            </a:pPr>
            <a:r>
              <a:rPr lang="nb-NO" sz="1800" dirty="0">
                <a:solidFill>
                  <a:srgbClr val="000000"/>
                </a:solidFill>
                <a:ea typeface="MS PGothic" pitchFamily="34" charset="-128"/>
              </a:rPr>
              <a:t>Estimeringskompetanse </a:t>
            </a:r>
          </a:p>
          <a:p>
            <a:pPr>
              <a:lnSpc>
                <a:spcPct val="100000"/>
              </a:lnSpc>
            </a:pPr>
            <a:r>
              <a:rPr lang="nb-NO" sz="1800" dirty="0">
                <a:solidFill>
                  <a:srgbClr val="000000"/>
                </a:solidFill>
                <a:ea typeface="MS PGothic" pitchFamily="34" charset="-128"/>
              </a:rPr>
              <a:t>Bygg gjerne på Lean prinsipper</a:t>
            </a:r>
          </a:p>
          <a:p>
            <a:endParaRPr lang="nb-NO" sz="2000" kern="0" dirty="0">
              <a:solidFill>
                <a:srgbClr val="000000"/>
              </a:solidFill>
              <a:latin typeface="Calibri" pitchFamily="34" charset="0"/>
              <a:ea typeface="MS PGothic" pitchFamily="34" charset="-128"/>
            </a:endParaRPr>
          </a:p>
          <a:p>
            <a:endParaRPr lang="nb-NO" sz="2000" kern="0" dirty="0">
              <a:solidFill>
                <a:srgbClr val="000000"/>
              </a:solidFill>
              <a:latin typeface="Calibri" pitchFamily="34" charset="0"/>
              <a:ea typeface="MS PGothic" pitchFamily="34" charset="-128"/>
            </a:endParaRPr>
          </a:p>
          <a:p>
            <a:endParaRPr lang="nb-NO" sz="2000" dirty="0"/>
          </a:p>
          <a:p>
            <a:endParaRPr lang="nb-NO" sz="2000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59803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2BEC5046-2146-4DF7-AC47-0C25702B4A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Takk for OSS!</a:t>
            </a:r>
          </a:p>
        </p:txBody>
      </p:sp>
    </p:spTree>
    <p:extLst>
      <p:ext uri="{BB962C8B-B14F-4D97-AF65-F5344CB8AC3E}">
        <p14:creationId xmlns:p14="http://schemas.microsoft.com/office/powerpoint/2010/main" val="9059315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ACDCA58-0111-4F49-8769-3AF5C7CAA3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verrfaglig kompetanse</a:t>
            </a:r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1F714C48-0A5A-45DE-813F-000C8FE04918}"/>
              </a:ext>
            </a:extLst>
          </p:cNvPr>
          <p:cNvGrpSpPr/>
          <p:nvPr/>
        </p:nvGrpSpPr>
        <p:grpSpPr>
          <a:xfrm>
            <a:off x="2665863" y="1315712"/>
            <a:ext cx="1266093" cy="1137687"/>
            <a:chOff x="2153141" y="2266451"/>
            <a:chExt cx="1266093" cy="1137687"/>
          </a:xfrm>
        </p:grpSpPr>
        <p:sp>
          <p:nvSpPr>
            <p:cNvPr id="16" name="Rounded Rectangle">
              <a:extLst>
                <a:ext uri="{FF2B5EF4-FFF2-40B4-BE49-F238E27FC236}">
                  <a16:creationId xmlns:a16="http://schemas.microsoft.com/office/drawing/2014/main" id="{375ED566-8340-4AFF-8E4F-8B5BECE83E27}"/>
                </a:ext>
              </a:extLst>
            </p:cNvPr>
            <p:cNvSpPr/>
            <p:nvPr/>
          </p:nvSpPr>
          <p:spPr>
            <a:xfrm rot="18927581">
              <a:off x="2216795" y="2266453"/>
              <a:ext cx="1137686" cy="1137685"/>
            </a:xfrm>
            <a:prstGeom prst="roundRect">
              <a:avLst>
                <a:gd name="adj" fmla="val 6387"/>
              </a:avLst>
            </a:prstGeom>
            <a:solidFill>
              <a:schemeClr val="tx2"/>
            </a:solidFill>
            <a:ln w="12700">
              <a:miter lim="400000"/>
            </a:ln>
          </p:spPr>
          <p:txBody>
            <a:bodyPr lIns="45719" rIns="45719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solidFill>
                    <a:srgbClr val="FFFFFF"/>
                  </a:solidFill>
                </a:defRPr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Rounded Rectangle">
              <a:extLst>
                <a:ext uri="{FF2B5EF4-FFF2-40B4-BE49-F238E27FC236}">
                  <a16:creationId xmlns:a16="http://schemas.microsoft.com/office/drawing/2014/main" id="{E44A4E2B-6430-435D-9233-871E42EA08CA}"/>
                </a:ext>
              </a:extLst>
            </p:cNvPr>
            <p:cNvSpPr/>
            <p:nvPr/>
          </p:nvSpPr>
          <p:spPr>
            <a:xfrm rot="19936736">
              <a:off x="2209101" y="2266451"/>
              <a:ext cx="1137685" cy="1137686"/>
            </a:xfrm>
            <a:prstGeom prst="roundRect">
              <a:avLst>
                <a:gd name="adj" fmla="val 6387"/>
              </a:avLst>
            </a:prstGeom>
            <a:solidFill>
              <a:srgbClr val="F6F6F6"/>
            </a:solidFill>
            <a:ln w="12700">
              <a:miter lim="400000"/>
            </a:ln>
            <a:effectLst>
              <a:outerShdw blurRad="50800" dist="38100" dir="2700000" rotWithShape="0">
                <a:srgbClr val="000000">
                  <a:alpha val="40000"/>
                </a:srgbClr>
              </a:outerShdw>
            </a:effectLst>
          </p:spPr>
          <p:txBody>
            <a:bodyPr lIns="45719" rIns="45719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solidFill>
                    <a:srgbClr val="FFFFFF"/>
                  </a:solidFill>
                </a:defRPr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Shape">
              <a:extLst>
                <a:ext uri="{FF2B5EF4-FFF2-40B4-BE49-F238E27FC236}">
                  <a16:creationId xmlns:a16="http://schemas.microsoft.com/office/drawing/2014/main" id="{E0120642-578C-4BA2-9812-1D9B6D7AB229}"/>
                </a:ext>
              </a:extLst>
            </p:cNvPr>
            <p:cNvSpPr/>
            <p:nvPr/>
          </p:nvSpPr>
          <p:spPr>
            <a:xfrm>
              <a:off x="2670437" y="2552122"/>
              <a:ext cx="230400" cy="2304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479" y="10800"/>
                  </a:moveTo>
                  <a:cubicBezTo>
                    <a:pt x="19479" y="9450"/>
                    <a:pt x="20314" y="8357"/>
                    <a:pt x="21600" y="7650"/>
                  </a:cubicBezTo>
                  <a:cubicBezTo>
                    <a:pt x="21343" y="6879"/>
                    <a:pt x="21086" y="6171"/>
                    <a:pt x="20700" y="5529"/>
                  </a:cubicBezTo>
                  <a:cubicBezTo>
                    <a:pt x="19286" y="5850"/>
                    <a:pt x="18193" y="5336"/>
                    <a:pt x="17229" y="4371"/>
                  </a:cubicBezTo>
                  <a:cubicBezTo>
                    <a:pt x="16264" y="3407"/>
                    <a:pt x="15943" y="2314"/>
                    <a:pt x="16329" y="900"/>
                  </a:cubicBezTo>
                  <a:cubicBezTo>
                    <a:pt x="15686" y="514"/>
                    <a:pt x="14914" y="193"/>
                    <a:pt x="14207" y="0"/>
                  </a:cubicBezTo>
                  <a:cubicBezTo>
                    <a:pt x="13436" y="1221"/>
                    <a:pt x="12150" y="2057"/>
                    <a:pt x="10800" y="2057"/>
                  </a:cubicBezTo>
                  <a:cubicBezTo>
                    <a:pt x="9450" y="2057"/>
                    <a:pt x="8100" y="1221"/>
                    <a:pt x="7393" y="0"/>
                  </a:cubicBezTo>
                  <a:cubicBezTo>
                    <a:pt x="6621" y="193"/>
                    <a:pt x="5914" y="514"/>
                    <a:pt x="5207" y="900"/>
                  </a:cubicBezTo>
                  <a:cubicBezTo>
                    <a:pt x="5593" y="2314"/>
                    <a:pt x="5336" y="3407"/>
                    <a:pt x="4371" y="4371"/>
                  </a:cubicBezTo>
                  <a:cubicBezTo>
                    <a:pt x="3407" y="5336"/>
                    <a:pt x="2250" y="5850"/>
                    <a:pt x="900" y="5529"/>
                  </a:cubicBezTo>
                  <a:cubicBezTo>
                    <a:pt x="514" y="6171"/>
                    <a:pt x="193" y="6879"/>
                    <a:pt x="0" y="7650"/>
                  </a:cubicBezTo>
                  <a:cubicBezTo>
                    <a:pt x="1221" y="8357"/>
                    <a:pt x="2057" y="9450"/>
                    <a:pt x="2057" y="10800"/>
                  </a:cubicBezTo>
                  <a:cubicBezTo>
                    <a:pt x="2057" y="12150"/>
                    <a:pt x="1221" y="13436"/>
                    <a:pt x="0" y="14207"/>
                  </a:cubicBezTo>
                  <a:cubicBezTo>
                    <a:pt x="193" y="14914"/>
                    <a:pt x="514" y="15686"/>
                    <a:pt x="900" y="16329"/>
                  </a:cubicBezTo>
                  <a:cubicBezTo>
                    <a:pt x="2250" y="15943"/>
                    <a:pt x="3407" y="16264"/>
                    <a:pt x="4371" y="17229"/>
                  </a:cubicBezTo>
                  <a:cubicBezTo>
                    <a:pt x="5336" y="18193"/>
                    <a:pt x="5593" y="19286"/>
                    <a:pt x="5207" y="20700"/>
                  </a:cubicBezTo>
                  <a:cubicBezTo>
                    <a:pt x="5914" y="21086"/>
                    <a:pt x="6621" y="21343"/>
                    <a:pt x="7393" y="21600"/>
                  </a:cubicBezTo>
                  <a:cubicBezTo>
                    <a:pt x="8100" y="20314"/>
                    <a:pt x="9450" y="19543"/>
                    <a:pt x="10800" y="19543"/>
                  </a:cubicBezTo>
                  <a:cubicBezTo>
                    <a:pt x="12150" y="19543"/>
                    <a:pt x="13436" y="20314"/>
                    <a:pt x="14207" y="21600"/>
                  </a:cubicBezTo>
                  <a:cubicBezTo>
                    <a:pt x="14914" y="21343"/>
                    <a:pt x="15686" y="21086"/>
                    <a:pt x="16329" y="20700"/>
                  </a:cubicBezTo>
                  <a:cubicBezTo>
                    <a:pt x="15943" y="19286"/>
                    <a:pt x="16264" y="18193"/>
                    <a:pt x="17229" y="17229"/>
                  </a:cubicBezTo>
                  <a:cubicBezTo>
                    <a:pt x="18193" y="16264"/>
                    <a:pt x="19286" y="15686"/>
                    <a:pt x="20700" y="16071"/>
                  </a:cubicBezTo>
                  <a:cubicBezTo>
                    <a:pt x="21086" y="15429"/>
                    <a:pt x="21343" y="14657"/>
                    <a:pt x="21600" y="13950"/>
                  </a:cubicBezTo>
                  <a:cubicBezTo>
                    <a:pt x="20314" y="13179"/>
                    <a:pt x="19479" y="12150"/>
                    <a:pt x="19479" y="10800"/>
                  </a:cubicBezTo>
                  <a:close/>
                  <a:moveTo>
                    <a:pt x="10800" y="15493"/>
                  </a:moveTo>
                  <a:cubicBezTo>
                    <a:pt x="8164" y="15493"/>
                    <a:pt x="6107" y="13371"/>
                    <a:pt x="6107" y="10800"/>
                  </a:cubicBezTo>
                  <a:cubicBezTo>
                    <a:pt x="6107" y="8229"/>
                    <a:pt x="8164" y="6107"/>
                    <a:pt x="10800" y="6107"/>
                  </a:cubicBezTo>
                  <a:cubicBezTo>
                    <a:pt x="13371" y="6107"/>
                    <a:pt x="15493" y="8229"/>
                    <a:pt x="15493" y="10800"/>
                  </a:cubicBezTo>
                  <a:cubicBezTo>
                    <a:pt x="15493" y="13371"/>
                    <a:pt x="13371" y="15493"/>
                    <a:pt x="10800" y="1549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Sample Text">
              <a:extLst>
                <a:ext uri="{FF2B5EF4-FFF2-40B4-BE49-F238E27FC236}">
                  <a16:creationId xmlns:a16="http://schemas.microsoft.com/office/drawing/2014/main" id="{26B5B0A9-9A42-4E26-8635-300B6DE51856}"/>
                </a:ext>
              </a:extLst>
            </p:cNvPr>
            <p:cNvSpPr txBox="1"/>
            <p:nvPr/>
          </p:nvSpPr>
          <p:spPr>
            <a:xfrm>
              <a:off x="2153141" y="2835294"/>
              <a:ext cx="1266093" cy="2462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>
              <a:lvl1pPr>
                <a:defRPr sz="1100" b="1">
                  <a:solidFill>
                    <a:srgbClr val="595959"/>
                  </a:solidFill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>
                  <a:ln>
                    <a:noFill/>
                  </a:ln>
                  <a:solidFill>
                    <a:srgbClr val="0C0C0C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rPr>
                <a:t>Ingeniør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endParaRPr>
            </a:p>
          </p:txBody>
        </p:sp>
      </p:grpSp>
      <p:grpSp>
        <p:nvGrpSpPr>
          <p:cNvPr id="38" name="Gruppe 37">
            <a:extLst>
              <a:ext uri="{FF2B5EF4-FFF2-40B4-BE49-F238E27FC236}">
                <a16:creationId xmlns:a16="http://schemas.microsoft.com/office/drawing/2014/main" id="{8CE56904-3137-4551-A9F9-79FA22F762DA}"/>
              </a:ext>
            </a:extLst>
          </p:cNvPr>
          <p:cNvGrpSpPr/>
          <p:nvPr/>
        </p:nvGrpSpPr>
        <p:grpSpPr>
          <a:xfrm>
            <a:off x="8558192" y="1899927"/>
            <a:ext cx="1266093" cy="1137687"/>
            <a:chOff x="5197231" y="1370679"/>
            <a:chExt cx="1266093" cy="1137687"/>
          </a:xfrm>
        </p:grpSpPr>
        <p:grpSp>
          <p:nvGrpSpPr>
            <p:cNvPr id="20" name="Gruppe 19">
              <a:extLst>
                <a:ext uri="{FF2B5EF4-FFF2-40B4-BE49-F238E27FC236}">
                  <a16:creationId xmlns:a16="http://schemas.microsoft.com/office/drawing/2014/main" id="{7FD0BADD-53B7-498E-AA8F-45B60DD4CFAE}"/>
                </a:ext>
              </a:extLst>
            </p:cNvPr>
            <p:cNvGrpSpPr/>
            <p:nvPr/>
          </p:nvGrpSpPr>
          <p:grpSpPr>
            <a:xfrm>
              <a:off x="5197231" y="1370679"/>
              <a:ext cx="1266093" cy="1137687"/>
              <a:chOff x="2153141" y="2266451"/>
              <a:chExt cx="1266093" cy="1137687"/>
            </a:xfrm>
          </p:grpSpPr>
          <p:sp>
            <p:nvSpPr>
              <p:cNvPr id="21" name="Rounded Rectangle">
                <a:extLst>
                  <a:ext uri="{FF2B5EF4-FFF2-40B4-BE49-F238E27FC236}">
                    <a16:creationId xmlns:a16="http://schemas.microsoft.com/office/drawing/2014/main" id="{3D6FFEE1-7A05-4AC7-8F8E-E5C07739B322}"/>
                  </a:ext>
                </a:extLst>
              </p:cNvPr>
              <p:cNvSpPr/>
              <p:nvPr/>
            </p:nvSpPr>
            <p:spPr>
              <a:xfrm rot="18927581">
                <a:off x="2216795" y="2266453"/>
                <a:ext cx="1137686" cy="1137685"/>
              </a:xfrm>
              <a:prstGeom prst="roundRect">
                <a:avLst>
                  <a:gd name="adj" fmla="val 6387"/>
                </a:avLst>
              </a:prstGeom>
              <a:solidFill>
                <a:schemeClr val="accent4"/>
              </a:solidFill>
              <a:ln w="12700">
                <a:miter lim="400000"/>
              </a:ln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2" name="Rounded Rectangle">
                <a:extLst>
                  <a:ext uri="{FF2B5EF4-FFF2-40B4-BE49-F238E27FC236}">
                    <a16:creationId xmlns:a16="http://schemas.microsoft.com/office/drawing/2014/main" id="{A025927B-2551-4C5D-8E63-8B13F9B734E1}"/>
                  </a:ext>
                </a:extLst>
              </p:cNvPr>
              <p:cNvSpPr/>
              <p:nvPr/>
            </p:nvSpPr>
            <p:spPr>
              <a:xfrm rot="19936736">
                <a:off x="2209101" y="2266451"/>
                <a:ext cx="1137685" cy="1137686"/>
              </a:xfrm>
              <a:prstGeom prst="roundRect">
                <a:avLst>
                  <a:gd name="adj" fmla="val 6387"/>
                </a:avLst>
              </a:prstGeom>
              <a:solidFill>
                <a:srgbClr val="F6F6F6"/>
              </a:solidFill>
              <a:ln w="12700"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24" name="Sample Text">
                <a:extLst>
                  <a:ext uri="{FF2B5EF4-FFF2-40B4-BE49-F238E27FC236}">
                    <a16:creationId xmlns:a16="http://schemas.microsoft.com/office/drawing/2014/main" id="{D57BACBB-6B9B-4F5E-8939-9C2A65054039}"/>
                  </a:ext>
                </a:extLst>
              </p:cNvPr>
              <p:cNvSpPr txBox="1"/>
              <p:nvPr/>
            </p:nvSpPr>
            <p:spPr>
              <a:xfrm>
                <a:off x="2153141" y="2835294"/>
                <a:ext cx="1266093" cy="2462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>
                <a:lvl1pPr>
                  <a:defRPr sz="1100" b="1">
                    <a:solidFill>
                      <a:srgbClr val="595959"/>
                    </a:solidFill>
                    <a:latin typeface="+mj-lt"/>
                    <a:ea typeface="+mj-ea"/>
                    <a:cs typeface="+mj-cs"/>
                    <a:sym typeface="Helvetica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C0C0C"/>
                    </a:solidFill>
                    <a:effectLst/>
                    <a:uLnTx/>
                    <a:uFillTx/>
                    <a:latin typeface="Verdana"/>
                    <a:ea typeface="+mj-ea"/>
                    <a:cs typeface="+mj-cs"/>
                    <a:sym typeface="Helvetica"/>
                  </a:rPr>
                  <a:t>Jurister</a:t>
                </a: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0C0C0C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endParaRPr>
              </a:p>
            </p:txBody>
          </p:sp>
        </p:grpSp>
        <p:sp>
          <p:nvSpPr>
            <p:cNvPr id="35" name="Shape">
              <a:extLst>
                <a:ext uri="{FF2B5EF4-FFF2-40B4-BE49-F238E27FC236}">
                  <a16:creationId xmlns:a16="http://schemas.microsoft.com/office/drawing/2014/main" id="{73A7B72D-4725-4505-B254-130155623F66}"/>
                </a:ext>
              </a:extLst>
            </p:cNvPr>
            <p:cNvSpPr/>
            <p:nvPr/>
          </p:nvSpPr>
          <p:spPr>
            <a:xfrm>
              <a:off x="5706833" y="1656349"/>
              <a:ext cx="230400" cy="2304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8571"/>
                  </a:moveTo>
                  <a:cubicBezTo>
                    <a:pt x="21600" y="19098"/>
                    <a:pt x="21467" y="19493"/>
                    <a:pt x="21202" y="19756"/>
                  </a:cubicBezTo>
                  <a:cubicBezTo>
                    <a:pt x="19877" y="21073"/>
                    <a:pt x="19877" y="21073"/>
                    <a:pt x="19877" y="21073"/>
                  </a:cubicBezTo>
                  <a:cubicBezTo>
                    <a:pt x="19480" y="21337"/>
                    <a:pt x="19082" y="21600"/>
                    <a:pt x="18685" y="21600"/>
                  </a:cubicBezTo>
                  <a:cubicBezTo>
                    <a:pt x="18287" y="21600"/>
                    <a:pt x="17890" y="21337"/>
                    <a:pt x="17625" y="21073"/>
                  </a:cubicBezTo>
                  <a:cubicBezTo>
                    <a:pt x="12987" y="16595"/>
                    <a:pt x="12987" y="16595"/>
                    <a:pt x="12987" y="16595"/>
                  </a:cubicBezTo>
                  <a:cubicBezTo>
                    <a:pt x="12721" y="16200"/>
                    <a:pt x="12589" y="15937"/>
                    <a:pt x="12589" y="15410"/>
                  </a:cubicBezTo>
                  <a:cubicBezTo>
                    <a:pt x="12589" y="15015"/>
                    <a:pt x="12721" y="14620"/>
                    <a:pt x="13119" y="14224"/>
                  </a:cubicBezTo>
                  <a:cubicBezTo>
                    <a:pt x="9939" y="11063"/>
                    <a:pt x="9939" y="11063"/>
                    <a:pt x="9939" y="11063"/>
                  </a:cubicBezTo>
                  <a:cubicBezTo>
                    <a:pt x="8348" y="12644"/>
                    <a:pt x="8348" y="12644"/>
                    <a:pt x="8348" y="12644"/>
                  </a:cubicBezTo>
                  <a:cubicBezTo>
                    <a:pt x="8216" y="12776"/>
                    <a:pt x="8083" y="12776"/>
                    <a:pt x="7818" y="12776"/>
                  </a:cubicBezTo>
                  <a:cubicBezTo>
                    <a:pt x="7686" y="12776"/>
                    <a:pt x="7553" y="12776"/>
                    <a:pt x="7421" y="12644"/>
                  </a:cubicBezTo>
                  <a:cubicBezTo>
                    <a:pt x="7421" y="12644"/>
                    <a:pt x="7553" y="12644"/>
                    <a:pt x="7553" y="12776"/>
                  </a:cubicBezTo>
                  <a:cubicBezTo>
                    <a:pt x="7686" y="12907"/>
                    <a:pt x="7686" y="12907"/>
                    <a:pt x="7818" y="12907"/>
                  </a:cubicBezTo>
                  <a:cubicBezTo>
                    <a:pt x="7818" y="12907"/>
                    <a:pt x="7818" y="13039"/>
                    <a:pt x="7951" y="13039"/>
                  </a:cubicBezTo>
                  <a:cubicBezTo>
                    <a:pt x="7951" y="13171"/>
                    <a:pt x="7951" y="13171"/>
                    <a:pt x="8083" y="13302"/>
                  </a:cubicBezTo>
                  <a:cubicBezTo>
                    <a:pt x="8083" y="13302"/>
                    <a:pt x="8083" y="13302"/>
                    <a:pt x="8083" y="13434"/>
                  </a:cubicBezTo>
                  <a:cubicBezTo>
                    <a:pt x="8083" y="13434"/>
                    <a:pt x="8216" y="13566"/>
                    <a:pt x="8216" y="13566"/>
                  </a:cubicBezTo>
                  <a:cubicBezTo>
                    <a:pt x="8216" y="13698"/>
                    <a:pt x="8216" y="13829"/>
                    <a:pt x="8216" y="13829"/>
                  </a:cubicBezTo>
                  <a:cubicBezTo>
                    <a:pt x="8216" y="14224"/>
                    <a:pt x="8083" y="14488"/>
                    <a:pt x="7818" y="14751"/>
                  </a:cubicBezTo>
                  <a:cubicBezTo>
                    <a:pt x="7818" y="14751"/>
                    <a:pt x="7686" y="14751"/>
                    <a:pt x="7686" y="14883"/>
                  </a:cubicBezTo>
                  <a:cubicBezTo>
                    <a:pt x="7553" y="15015"/>
                    <a:pt x="7421" y="15146"/>
                    <a:pt x="7421" y="15146"/>
                  </a:cubicBezTo>
                  <a:cubicBezTo>
                    <a:pt x="7288" y="15278"/>
                    <a:pt x="7288" y="15278"/>
                    <a:pt x="7156" y="15410"/>
                  </a:cubicBezTo>
                  <a:cubicBezTo>
                    <a:pt x="7023" y="15410"/>
                    <a:pt x="6891" y="15541"/>
                    <a:pt x="6891" y="15541"/>
                  </a:cubicBezTo>
                  <a:cubicBezTo>
                    <a:pt x="6758" y="15673"/>
                    <a:pt x="6758" y="15673"/>
                    <a:pt x="6626" y="15673"/>
                  </a:cubicBezTo>
                  <a:cubicBezTo>
                    <a:pt x="6493" y="15673"/>
                    <a:pt x="6361" y="15805"/>
                    <a:pt x="6228" y="15805"/>
                  </a:cubicBezTo>
                  <a:cubicBezTo>
                    <a:pt x="5963" y="15805"/>
                    <a:pt x="5698" y="15673"/>
                    <a:pt x="5433" y="15410"/>
                  </a:cubicBezTo>
                  <a:cubicBezTo>
                    <a:pt x="265" y="10273"/>
                    <a:pt x="265" y="10273"/>
                    <a:pt x="265" y="10273"/>
                  </a:cubicBezTo>
                  <a:cubicBezTo>
                    <a:pt x="133" y="10141"/>
                    <a:pt x="0" y="9746"/>
                    <a:pt x="0" y="9483"/>
                  </a:cubicBezTo>
                  <a:cubicBezTo>
                    <a:pt x="0" y="9351"/>
                    <a:pt x="0" y="9220"/>
                    <a:pt x="0" y="9088"/>
                  </a:cubicBezTo>
                  <a:cubicBezTo>
                    <a:pt x="0" y="9088"/>
                    <a:pt x="133" y="8956"/>
                    <a:pt x="133" y="8824"/>
                  </a:cubicBezTo>
                  <a:cubicBezTo>
                    <a:pt x="133" y="8824"/>
                    <a:pt x="265" y="8693"/>
                    <a:pt x="265" y="8561"/>
                  </a:cubicBezTo>
                  <a:cubicBezTo>
                    <a:pt x="398" y="8429"/>
                    <a:pt x="530" y="8429"/>
                    <a:pt x="530" y="8298"/>
                  </a:cubicBezTo>
                  <a:cubicBezTo>
                    <a:pt x="530" y="8298"/>
                    <a:pt x="663" y="8298"/>
                    <a:pt x="795" y="8166"/>
                  </a:cubicBezTo>
                  <a:cubicBezTo>
                    <a:pt x="928" y="8034"/>
                    <a:pt x="928" y="7902"/>
                    <a:pt x="1060" y="7902"/>
                  </a:cubicBezTo>
                  <a:cubicBezTo>
                    <a:pt x="1325" y="7639"/>
                    <a:pt x="1590" y="7507"/>
                    <a:pt x="1855" y="7507"/>
                  </a:cubicBezTo>
                  <a:cubicBezTo>
                    <a:pt x="1988" y="7507"/>
                    <a:pt x="1988" y="7639"/>
                    <a:pt x="2120" y="7639"/>
                  </a:cubicBezTo>
                  <a:cubicBezTo>
                    <a:pt x="2120" y="7639"/>
                    <a:pt x="2253" y="7639"/>
                    <a:pt x="2253" y="7639"/>
                  </a:cubicBezTo>
                  <a:cubicBezTo>
                    <a:pt x="2385" y="7639"/>
                    <a:pt x="2385" y="7771"/>
                    <a:pt x="2518" y="7771"/>
                  </a:cubicBezTo>
                  <a:cubicBezTo>
                    <a:pt x="2518" y="7771"/>
                    <a:pt x="2518" y="7771"/>
                    <a:pt x="2650" y="7902"/>
                  </a:cubicBezTo>
                  <a:cubicBezTo>
                    <a:pt x="2650" y="7902"/>
                    <a:pt x="2783" y="7902"/>
                    <a:pt x="2783" y="8034"/>
                  </a:cubicBezTo>
                  <a:cubicBezTo>
                    <a:pt x="2783" y="8034"/>
                    <a:pt x="2915" y="8034"/>
                    <a:pt x="2915" y="8166"/>
                  </a:cubicBezTo>
                  <a:cubicBezTo>
                    <a:pt x="3048" y="8166"/>
                    <a:pt x="3048" y="8298"/>
                    <a:pt x="3048" y="8298"/>
                  </a:cubicBezTo>
                  <a:cubicBezTo>
                    <a:pt x="2915" y="8166"/>
                    <a:pt x="2915" y="8034"/>
                    <a:pt x="2915" y="7902"/>
                  </a:cubicBezTo>
                  <a:cubicBezTo>
                    <a:pt x="2915" y="7639"/>
                    <a:pt x="2915" y="7507"/>
                    <a:pt x="3048" y="7507"/>
                  </a:cubicBezTo>
                  <a:cubicBezTo>
                    <a:pt x="7421" y="3161"/>
                    <a:pt x="7421" y="3161"/>
                    <a:pt x="7421" y="3161"/>
                  </a:cubicBezTo>
                  <a:cubicBezTo>
                    <a:pt x="7553" y="3029"/>
                    <a:pt x="7686" y="2898"/>
                    <a:pt x="7818" y="2898"/>
                  </a:cubicBezTo>
                  <a:cubicBezTo>
                    <a:pt x="8083" y="2898"/>
                    <a:pt x="8216" y="3029"/>
                    <a:pt x="8348" y="3161"/>
                  </a:cubicBezTo>
                  <a:cubicBezTo>
                    <a:pt x="8348" y="3161"/>
                    <a:pt x="8216" y="3029"/>
                    <a:pt x="8216" y="3029"/>
                  </a:cubicBezTo>
                  <a:cubicBezTo>
                    <a:pt x="8083" y="2898"/>
                    <a:pt x="7951" y="2766"/>
                    <a:pt x="7951" y="2766"/>
                  </a:cubicBezTo>
                  <a:cubicBezTo>
                    <a:pt x="7951" y="2766"/>
                    <a:pt x="7951" y="2766"/>
                    <a:pt x="7818" y="2634"/>
                  </a:cubicBezTo>
                  <a:cubicBezTo>
                    <a:pt x="7818" y="2634"/>
                    <a:pt x="7818" y="2502"/>
                    <a:pt x="7686" y="2502"/>
                  </a:cubicBezTo>
                  <a:cubicBezTo>
                    <a:pt x="7686" y="2502"/>
                    <a:pt x="7686" y="2371"/>
                    <a:pt x="7686" y="2371"/>
                  </a:cubicBezTo>
                  <a:cubicBezTo>
                    <a:pt x="7686" y="2239"/>
                    <a:pt x="7553" y="2239"/>
                    <a:pt x="7553" y="2107"/>
                  </a:cubicBezTo>
                  <a:cubicBezTo>
                    <a:pt x="7553" y="2107"/>
                    <a:pt x="7553" y="1976"/>
                    <a:pt x="7553" y="1844"/>
                  </a:cubicBezTo>
                  <a:cubicBezTo>
                    <a:pt x="7553" y="1580"/>
                    <a:pt x="7686" y="1317"/>
                    <a:pt x="7951" y="1054"/>
                  </a:cubicBezTo>
                  <a:cubicBezTo>
                    <a:pt x="7951" y="1054"/>
                    <a:pt x="8083" y="922"/>
                    <a:pt x="8083" y="790"/>
                  </a:cubicBezTo>
                  <a:cubicBezTo>
                    <a:pt x="8216" y="659"/>
                    <a:pt x="8348" y="659"/>
                    <a:pt x="8348" y="527"/>
                  </a:cubicBezTo>
                  <a:cubicBezTo>
                    <a:pt x="8481" y="527"/>
                    <a:pt x="8481" y="395"/>
                    <a:pt x="8613" y="395"/>
                  </a:cubicBezTo>
                  <a:cubicBezTo>
                    <a:pt x="8746" y="263"/>
                    <a:pt x="8746" y="263"/>
                    <a:pt x="8879" y="132"/>
                  </a:cubicBezTo>
                  <a:cubicBezTo>
                    <a:pt x="9011" y="132"/>
                    <a:pt x="9011" y="132"/>
                    <a:pt x="9144" y="0"/>
                  </a:cubicBezTo>
                  <a:cubicBezTo>
                    <a:pt x="9276" y="0"/>
                    <a:pt x="9409" y="0"/>
                    <a:pt x="9541" y="0"/>
                  </a:cubicBezTo>
                  <a:cubicBezTo>
                    <a:pt x="9806" y="0"/>
                    <a:pt x="10071" y="132"/>
                    <a:pt x="10336" y="395"/>
                  </a:cubicBezTo>
                  <a:cubicBezTo>
                    <a:pt x="15504" y="5400"/>
                    <a:pt x="15504" y="5400"/>
                    <a:pt x="15504" y="5400"/>
                  </a:cubicBezTo>
                  <a:cubicBezTo>
                    <a:pt x="15637" y="5663"/>
                    <a:pt x="15769" y="5927"/>
                    <a:pt x="15769" y="6322"/>
                  </a:cubicBezTo>
                  <a:cubicBezTo>
                    <a:pt x="15769" y="6322"/>
                    <a:pt x="15769" y="6454"/>
                    <a:pt x="15769" y="6585"/>
                  </a:cubicBezTo>
                  <a:cubicBezTo>
                    <a:pt x="15769" y="6717"/>
                    <a:pt x="15637" y="6849"/>
                    <a:pt x="15637" y="6849"/>
                  </a:cubicBezTo>
                  <a:cubicBezTo>
                    <a:pt x="15637" y="6980"/>
                    <a:pt x="15504" y="6980"/>
                    <a:pt x="15372" y="7112"/>
                  </a:cubicBezTo>
                  <a:cubicBezTo>
                    <a:pt x="15372" y="7244"/>
                    <a:pt x="15239" y="7376"/>
                    <a:pt x="15239" y="7376"/>
                  </a:cubicBezTo>
                  <a:cubicBezTo>
                    <a:pt x="15239" y="7376"/>
                    <a:pt x="15107" y="7507"/>
                    <a:pt x="14974" y="7639"/>
                  </a:cubicBezTo>
                  <a:cubicBezTo>
                    <a:pt x="14842" y="7771"/>
                    <a:pt x="14709" y="7771"/>
                    <a:pt x="14709" y="7771"/>
                  </a:cubicBezTo>
                  <a:cubicBezTo>
                    <a:pt x="14444" y="8034"/>
                    <a:pt x="14179" y="8166"/>
                    <a:pt x="13914" y="8166"/>
                  </a:cubicBezTo>
                  <a:cubicBezTo>
                    <a:pt x="13782" y="8166"/>
                    <a:pt x="13782" y="8166"/>
                    <a:pt x="13649" y="8166"/>
                  </a:cubicBezTo>
                  <a:cubicBezTo>
                    <a:pt x="13649" y="8166"/>
                    <a:pt x="13517" y="8166"/>
                    <a:pt x="13517" y="8034"/>
                  </a:cubicBezTo>
                  <a:cubicBezTo>
                    <a:pt x="13384" y="8034"/>
                    <a:pt x="13384" y="8034"/>
                    <a:pt x="13252" y="8034"/>
                  </a:cubicBezTo>
                  <a:cubicBezTo>
                    <a:pt x="13252" y="8034"/>
                    <a:pt x="13252" y="7902"/>
                    <a:pt x="13119" y="7902"/>
                  </a:cubicBezTo>
                  <a:cubicBezTo>
                    <a:pt x="13119" y="7771"/>
                    <a:pt x="12987" y="7771"/>
                    <a:pt x="12987" y="7771"/>
                  </a:cubicBezTo>
                  <a:cubicBezTo>
                    <a:pt x="12987" y="7771"/>
                    <a:pt x="12854" y="7639"/>
                    <a:pt x="12854" y="7639"/>
                  </a:cubicBezTo>
                  <a:cubicBezTo>
                    <a:pt x="12721" y="7507"/>
                    <a:pt x="12721" y="7507"/>
                    <a:pt x="12721" y="7507"/>
                  </a:cubicBezTo>
                  <a:cubicBezTo>
                    <a:pt x="12721" y="7507"/>
                    <a:pt x="12854" y="7639"/>
                    <a:pt x="12854" y="7902"/>
                  </a:cubicBezTo>
                  <a:cubicBezTo>
                    <a:pt x="12854" y="8034"/>
                    <a:pt x="12721" y="8166"/>
                    <a:pt x="12721" y="8298"/>
                  </a:cubicBezTo>
                  <a:cubicBezTo>
                    <a:pt x="11131" y="9878"/>
                    <a:pt x="11131" y="9878"/>
                    <a:pt x="11131" y="9878"/>
                  </a:cubicBezTo>
                  <a:cubicBezTo>
                    <a:pt x="14312" y="13039"/>
                    <a:pt x="14312" y="13039"/>
                    <a:pt x="14312" y="13039"/>
                  </a:cubicBezTo>
                  <a:cubicBezTo>
                    <a:pt x="14709" y="12644"/>
                    <a:pt x="15107" y="12512"/>
                    <a:pt x="15504" y="12512"/>
                  </a:cubicBezTo>
                  <a:cubicBezTo>
                    <a:pt x="15902" y="12512"/>
                    <a:pt x="16299" y="12644"/>
                    <a:pt x="16697" y="13039"/>
                  </a:cubicBezTo>
                  <a:cubicBezTo>
                    <a:pt x="21202" y="17517"/>
                    <a:pt x="21202" y="17517"/>
                    <a:pt x="21202" y="17517"/>
                  </a:cubicBezTo>
                  <a:cubicBezTo>
                    <a:pt x="21467" y="17780"/>
                    <a:pt x="21600" y="18176"/>
                    <a:pt x="21600" y="18571"/>
                  </a:cubicBezTo>
                  <a:close/>
                </a:path>
              </a:pathLst>
            </a:custGeom>
            <a:solidFill>
              <a:schemeClr val="accent4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849BC796-9E88-4E66-8CE8-AAF673E13D9A}"/>
              </a:ext>
            </a:extLst>
          </p:cNvPr>
          <p:cNvGrpSpPr/>
          <p:nvPr/>
        </p:nvGrpSpPr>
        <p:grpSpPr>
          <a:xfrm>
            <a:off x="2960089" y="4579021"/>
            <a:ext cx="1266093" cy="1137687"/>
            <a:chOff x="7893535" y="1370678"/>
            <a:chExt cx="1266093" cy="1137687"/>
          </a:xfrm>
        </p:grpSpPr>
        <p:grpSp>
          <p:nvGrpSpPr>
            <p:cNvPr id="30" name="Gruppe 29">
              <a:extLst>
                <a:ext uri="{FF2B5EF4-FFF2-40B4-BE49-F238E27FC236}">
                  <a16:creationId xmlns:a16="http://schemas.microsoft.com/office/drawing/2014/main" id="{392D03EF-74D5-4A17-BEFE-8900C49DE473}"/>
                </a:ext>
              </a:extLst>
            </p:cNvPr>
            <p:cNvGrpSpPr/>
            <p:nvPr/>
          </p:nvGrpSpPr>
          <p:grpSpPr>
            <a:xfrm>
              <a:off x="7893535" y="1370678"/>
              <a:ext cx="1266093" cy="1137687"/>
              <a:chOff x="2153141" y="2266451"/>
              <a:chExt cx="1266093" cy="1137687"/>
            </a:xfrm>
          </p:grpSpPr>
          <p:sp>
            <p:nvSpPr>
              <p:cNvPr id="31" name="Rounded Rectangle">
                <a:extLst>
                  <a:ext uri="{FF2B5EF4-FFF2-40B4-BE49-F238E27FC236}">
                    <a16:creationId xmlns:a16="http://schemas.microsoft.com/office/drawing/2014/main" id="{55CB9D3B-6702-4757-9D24-26C69F5C7A6D}"/>
                  </a:ext>
                </a:extLst>
              </p:cNvPr>
              <p:cNvSpPr/>
              <p:nvPr/>
            </p:nvSpPr>
            <p:spPr>
              <a:xfrm rot="18927581">
                <a:off x="2216795" y="2266453"/>
                <a:ext cx="1137686" cy="1137685"/>
              </a:xfrm>
              <a:prstGeom prst="roundRect">
                <a:avLst>
                  <a:gd name="adj" fmla="val 6387"/>
                </a:avLst>
              </a:prstGeom>
              <a:solidFill>
                <a:schemeClr val="accent1"/>
              </a:solidFill>
              <a:ln w="12700">
                <a:miter lim="400000"/>
              </a:ln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2" name="Rounded Rectangle">
                <a:extLst>
                  <a:ext uri="{FF2B5EF4-FFF2-40B4-BE49-F238E27FC236}">
                    <a16:creationId xmlns:a16="http://schemas.microsoft.com/office/drawing/2014/main" id="{1CD575D2-C413-4A7E-8009-7716A79CD573}"/>
                  </a:ext>
                </a:extLst>
              </p:cNvPr>
              <p:cNvSpPr/>
              <p:nvPr/>
            </p:nvSpPr>
            <p:spPr>
              <a:xfrm rot="19936736">
                <a:off x="2209101" y="2266451"/>
                <a:ext cx="1137685" cy="1137686"/>
              </a:xfrm>
              <a:prstGeom prst="roundRect">
                <a:avLst>
                  <a:gd name="adj" fmla="val 6387"/>
                </a:avLst>
              </a:prstGeom>
              <a:solidFill>
                <a:srgbClr val="F6F6F6"/>
              </a:solidFill>
              <a:ln w="12700"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34" name="Sample Text">
                <a:extLst>
                  <a:ext uri="{FF2B5EF4-FFF2-40B4-BE49-F238E27FC236}">
                    <a16:creationId xmlns:a16="http://schemas.microsoft.com/office/drawing/2014/main" id="{1DA0CFF6-DEEA-418F-B29A-BAB222AD6524}"/>
                  </a:ext>
                </a:extLst>
              </p:cNvPr>
              <p:cNvSpPr txBox="1"/>
              <p:nvPr/>
            </p:nvSpPr>
            <p:spPr>
              <a:xfrm>
                <a:off x="2153141" y="2835294"/>
                <a:ext cx="1266093" cy="2462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45719" rIns="45719">
                <a:spAutoFit/>
              </a:bodyPr>
              <a:lstStyle>
                <a:lvl1pPr>
                  <a:defRPr sz="1100" b="1">
                    <a:solidFill>
                      <a:srgbClr val="595959"/>
                    </a:solidFill>
                    <a:latin typeface="+mj-lt"/>
                    <a:ea typeface="+mj-ea"/>
                    <a:cs typeface="+mj-cs"/>
                    <a:sym typeface="Helvetica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C0C0C"/>
                    </a:solidFill>
                    <a:effectLst/>
                    <a:uLnTx/>
                    <a:uFillTx/>
                    <a:latin typeface="Verdana"/>
                    <a:ea typeface="+mj-ea"/>
                    <a:cs typeface="+mj-cs"/>
                    <a:sym typeface="Helvetica"/>
                  </a:rPr>
                  <a:t>Økonomer</a:t>
                </a:r>
                <a:endParaRPr kumimoji="0" sz="1000" b="0" i="0" u="none" strike="noStrike" kern="1200" cap="none" spc="0" normalizeH="0" baseline="0" noProof="0">
                  <a:ln>
                    <a:noFill/>
                  </a:ln>
                  <a:solidFill>
                    <a:srgbClr val="0C0C0C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endParaRPr>
              </a:p>
            </p:txBody>
          </p:sp>
        </p:grpSp>
        <p:sp>
          <p:nvSpPr>
            <p:cNvPr id="37" name="Shape">
              <a:extLst>
                <a:ext uri="{FF2B5EF4-FFF2-40B4-BE49-F238E27FC236}">
                  <a16:creationId xmlns:a16="http://schemas.microsoft.com/office/drawing/2014/main" id="{66AB3733-72B6-4700-9EEA-A9765B51C441}"/>
                </a:ext>
              </a:extLst>
            </p:cNvPr>
            <p:cNvSpPr/>
            <p:nvPr/>
          </p:nvSpPr>
          <p:spPr>
            <a:xfrm>
              <a:off x="8403137" y="1656349"/>
              <a:ext cx="230400" cy="2304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9596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0" y="0"/>
                  </a:lnTo>
                  <a:lnTo>
                    <a:pt x="1350" y="0"/>
                  </a:lnTo>
                  <a:lnTo>
                    <a:pt x="1350" y="19596"/>
                  </a:lnTo>
                  <a:lnTo>
                    <a:pt x="21600" y="19596"/>
                  </a:lnTo>
                  <a:close/>
                  <a:moveTo>
                    <a:pt x="6750" y="10689"/>
                  </a:moveTo>
                  <a:lnTo>
                    <a:pt x="6750" y="17814"/>
                  </a:lnTo>
                  <a:lnTo>
                    <a:pt x="4050" y="17814"/>
                  </a:lnTo>
                  <a:lnTo>
                    <a:pt x="4050" y="10689"/>
                  </a:lnTo>
                  <a:lnTo>
                    <a:pt x="6750" y="10689"/>
                  </a:lnTo>
                  <a:close/>
                  <a:moveTo>
                    <a:pt x="10800" y="3563"/>
                  </a:moveTo>
                  <a:lnTo>
                    <a:pt x="10800" y="17814"/>
                  </a:lnTo>
                  <a:lnTo>
                    <a:pt x="8100" y="17814"/>
                  </a:lnTo>
                  <a:lnTo>
                    <a:pt x="8100" y="3563"/>
                  </a:lnTo>
                  <a:lnTo>
                    <a:pt x="10800" y="3563"/>
                  </a:lnTo>
                  <a:close/>
                  <a:moveTo>
                    <a:pt x="14850" y="7126"/>
                  </a:moveTo>
                  <a:lnTo>
                    <a:pt x="14850" y="17814"/>
                  </a:lnTo>
                  <a:lnTo>
                    <a:pt x="12150" y="17814"/>
                  </a:lnTo>
                  <a:lnTo>
                    <a:pt x="12150" y="7126"/>
                  </a:lnTo>
                  <a:lnTo>
                    <a:pt x="14850" y="7126"/>
                  </a:lnTo>
                  <a:close/>
                  <a:moveTo>
                    <a:pt x="18900" y="1781"/>
                  </a:moveTo>
                  <a:lnTo>
                    <a:pt x="18900" y="17814"/>
                  </a:lnTo>
                  <a:lnTo>
                    <a:pt x="16200" y="17814"/>
                  </a:lnTo>
                  <a:lnTo>
                    <a:pt x="16200" y="1781"/>
                  </a:lnTo>
                  <a:lnTo>
                    <a:pt x="18900" y="1781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5" name="Gruppe 64">
            <a:extLst>
              <a:ext uri="{FF2B5EF4-FFF2-40B4-BE49-F238E27FC236}">
                <a16:creationId xmlns:a16="http://schemas.microsoft.com/office/drawing/2014/main" id="{D6C043C3-71DB-4710-9A71-F360B92C8806}"/>
              </a:ext>
            </a:extLst>
          </p:cNvPr>
          <p:cNvGrpSpPr/>
          <p:nvPr/>
        </p:nvGrpSpPr>
        <p:grpSpPr>
          <a:xfrm>
            <a:off x="4132483" y="1441345"/>
            <a:ext cx="3927034" cy="3918643"/>
            <a:chOff x="6189920" y="1448863"/>
            <a:chExt cx="3927034" cy="3918643"/>
          </a:xfrm>
        </p:grpSpPr>
        <p:sp>
          <p:nvSpPr>
            <p:cNvPr id="55" name="Shape">
              <a:extLst>
                <a:ext uri="{FF2B5EF4-FFF2-40B4-BE49-F238E27FC236}">
                  <a16:creationId xmlns:a16="http://schemas.microsoft.com/office/drawing/2014/main" id="{1738964B-CBC6-41DB-AB41-CAD4D1C3ECAE}"/>
                </a:ext>
              </a:extLst>
            </p:cNvPr>
            <p:cNvSpPr/>
            <p:nvPr/>
          </p:nvSpPr>
          <p:spPr>
            <a:xfrm rot="2782665">
              <a:off x="6411181" y="2211462"/>
              <a:ext cx="1594897" cy="20374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8" h="21435" extrusionOk="0">
                  <a:moveTo>
                    <a:pt x="0" y="5173"/>
                  </a:moveTo>
                  <a:cubicBezTo>
                    <a:pt x="1211" y="5453"/>
                    <a:pt x="2320" y="5734"/>
                    <a:pt x="3454" y="5975"/>
                  </a:cubicBezTo>
                  <a:cubicBezTo>
                    <a:pt x="4485" y="6175"/>
                    <a:pt x="5516" y="6296"/>
                    <a:pt x="6573" y="6115"/>
                  </a:cubicBezTo>
                  <a:cubicBezTo>
                    <a:pt x="8094" y="5875"/>
                    <a:pt x="8867" y="4872"/>
                    <a:pt x="8454" y="3709"/>
                  </a:cubicBezTo>
                  <a:cubicBezTo>
                    <a:pt x="8274" y="3207"/>
                    <a:pt x="8042" y="2726"/>
                    <a:pt x="7913" y="2225"/>
                  </a:cubicBezTo>
                  <a:cubicBezTo>
                    <a:pt x="7655" y="1402"/>
                    <a:pt x="8042" y="620"/>
                    <a:pt x="8789" y="259"/>
                  </a:cubicBezTo>
                  <a:cubicBezTo>
                    <a:pt x="9614" y="-122"/>
                    <a:pt x="11084" y="-82"/>
                    <a:pt x="11831" y="379"/>
                  </a:cubicBezTo>
                  <a:cubicBezTo>
                    <a:pt x="12553" y="821"/>
                    <a:pt x="12682" y="1442"/>
                    <a:pt x="12604" y="2104"/>
                  </a:cubicBezTo>
                  <a:cubicBezTo>
                    <a:pt x="12553" y="2525"/>
                    <a:pt x="12372" y="2926"/>
                    <a:pt x="12243" y="3348"/>
                  </a:cubicBezTo>
                  <a:cubicBezTo>
                    <a:pt x="12192" y="3508"/>
                    <a:pt x="12089" y="3669"/>
                    <a:pt x="12037" y="3849"/>
                  </a:cubicBezTo>
                  <a:cubicBezTo>
                    <a:pt x="11573" y="5072"/>
                    <a:pt x="12372" y="5975"/>
                    <a:pt x="14048" y="6115"/>
                  </a:cubicBezTo>
                  <a:cubicBezTo>
                    <a:pt x="15440" y="6236"/>
                    <a:pt x="16780" y="5975"/>
                    <a:pt x="18120" y="5754"/>
                  </a:cubicBezTo>
                  <a:cubicBezTo>
                    <a:pt x="18919" y="5634"/>
                    <a:pt x="19718" y="5514"/>
                    <a:pt x="20621" y="5373"/>
                  </a:cubicBezTo>
                  <a:cubicBezTo>
                    <a:pt x="20904" y="6316"/>
                    <a:pt x="21213" y="7218"/>
                    <a:pt x="21394" y="8141"/>
                  </a:cubicBezTo>
                  <a:cubicBezTo>
                    <a:pt x="21548" y="8803"/>
                    <a:pt x="21600" y="9505"/>
                    <a:pt x="21523" y="10187"/>
                  </a:cubicBezTo>
                  <a:cubicBezTo>
                    <a:pt x="21445" y="10929"/>
                    <a:pt x="20878" y="11149"/>
                    <a:pt x="19976" y="10889"/>
                  </a:cubicBezTo>
                  <a:cubicBezTo>
                    <a:pt x="19486" y="10748"/>
                    <a:pt x="19022" y="10528"/>
                    <a:pt x="18558" y="10347"/>
                  </a:cubicBezTo>
                  <a:cubicBezTo>
                    <a:pt x="17527" y="9966"/>
                    <a:pt x="16548" y="10026"/>
                    <a:pt x="15620" y="10528"/>
                  </a:cubicBezTo>
                  <a:cubicBezTo>
                    <a:pt x="14177" y="11290"/>
                    <a:pt x="13378" y="13055"/>
                    <a:pt x="13842" y="14358"/>
                  </a:cubicBezTo>
                  <a:cubicBezTo>
                    <a:pt x="14357" y="15782"/>
                    <a:pt x="16496" y="16645"/>
                    <a:pt x="18378" y="16163"/>
                  </a:cubicBezTo>
                  <a:cubicBezTo>
                    <a:pt x="18971" y="16003"/>
                    <a:pt x="19538" y="15762"/>
                    <a:pt x="20105" y="15542"/>
                  </a:cubicBezTo>
                  <a:cubicBezTo>
                    <a:pt x="20878" y="15281"/>
                    <a:pt x="21213" y="15381"/>
                    <a:pt x="21188" y="16043"/>
                  </a:cubicBezTo>
                  <a:cubicBezTo>
                    <a:pt x="21162" y="17226"/>
                    <a:pt x="21059" y="18409"/>
                    <a:pt x="20956" y="19593"/>
                  </a:cubicBezTo>
                  <a:cubicBezTo>
                    <a:pt x="20904" y="20114"/>
                    <a:pt x="20724" y="20616"/>
                    <a:pt x="20621" y="21137"/>
                  </a:cubicBezTo>
                  <a:cubicBezTo>
                    <a:pt x="20569" y="21358"/>
                    <a:pt x="20440" y="21418"/>
                    <a:pt x="20157" y="21418"/>
                  </a:cubicBezTo>
                  <a:cubicBezTo>
                    <a:pt x="16239" y="21418"/>
                    <a:pt x="12295" y="21478"/>
                    <a:pt x="8351" y="21378"/>
                  </a:cubicBezTo>
                  <a:cubicBezTo>
                    <a:pt x="6341" y="21338"/>
                    <a:pt x="4614" y="20555"/>
                    <a:pt x="3145" y="19492"/>
                  </a:cubicBezTo>
                  <a:cubicBezTo>
                    <a:pt x="1031" y="17948"/>
                    <a:pt x="0" y="16023"/>
                    <a:pt x="0" y="13777"/>
                  </a:cubicBezTo>
                  <a:cubicBezTo>
                    <a:pt x="0" y="11049"/>
                    <a:pt x="0" y="8342"/>
                    <a:pt x="0" y="5634"/>
                  </a:cubicBezTo>
                  <a:cubicBezTo>
                    <a:pt x="0" y="5494"/>
                    <a:pt x="0" y="5333"/>
                    <a:pt x="0" y="5173"/>
                  </a:cubicBezTo>
                  <a:close/>
                </a:path>
              </a:pathLst>
            </a:custGeom>
            <a:solidFill>
              <a:schemeClr val="tx2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Shape">
              <a:extLst>
                <a:ext uri="{FF2B5EF4-FFF2-40B4-BE49-F238E27FC236}">
                  <a16:creationId xmlns:a16="http://schemas.microsoft.com/office/drawing/2014/main" id="{891029D8-83A4-4B5F-8356-0BAD9718E4DD}"/>
                </a:ext>
              </a:extLst>
            </p:cNvPr>
            <p:cNvSpPr/>
            <p:nvPr/>
          </p:nvSpPr>
          <p:spPr>
            <a:xfrm rot="2782665">
              <a:off x="6962396" y="3551855"/>
              <a:ext cx="2030753" cy="1600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4" h="21533" extrusionOk="0">
                  <a:moveTo>
                    <a:pt x="5136" y="21526"/>
                  </a:moveTo>
                  <a:cubicBezTo>
                    <a:pt x="5257" y="21090"/>
                    <a:pt x="5398" y="20705"/>
                    <a:pt x="5458" y="20321"/>
                  </a:cubicBezTo>
                  <a:cubicBezTo>
                    <a:pt x="5720" y="18987"/>
                    <a:pt x="5982" y="17653"/>
                    <a:pt x="6183" y="16293"/>
                  </a:cubicBezTo>
                  <a:cubicBezTo>
                    <a:pt x="6243" y="15806"/>
                    <a:pt x="6183" y="15267"/>
                    <a:pt x="6082" y="14780"/>
                  </a:cubicBezTo>
                  <a:cubicBezTo>
                    <a:pt x="5800" y="13394"/>
                    <a:pt x="4814" y="12727"/>
                    <a:pt x="3747" y="13112"/>
                  </a:cubicBezTo>
                  <a:cubicBezTo>
                    <a:pt x="3244" y="13292"/>
                    <a:pt x="2741" y="13523"/>
                    <a:pt x="2237" y="13651"/>
                  </a:cubicBezTo>
                  <a:cubicBezTo>
                    <a:pt x="1412" y="13907"/>
                    <a:pt x="627" y="13523"/>
                    <a:pt x="285" y="12804"/>
                  </a:cubicBezTo>
                  <a:cubicBezTo>
                    <a:pt x="-138" y="11958"/>
                    <a:pt x="-78" y="10470"/>
                    <a:pt x="385" y="9726"/>
                  </a:cubicBezTo>
                  <a:cubicBezTo>
                    <a:pt x="848" y="9008"/>
                    <a:pt x="1513" y="8854"/>
                    <a:pt x="2177" y="8982"/>
                  </a:cubicBezTo>
                  <a:cubicBezTo>
                    <a:pt x="2640" y="9059"/>
                    <a:pt x="3123" y="9238"/>
                    <a:pt x="3566" y="9444"/>
                  </a:cubicBezTo>
                  <a:cubicBezTo>
                    <a:pt x="5136" y="10085"/>
                    <a:pt x="6163" y="9187"/>
                    <a:pt x="6143" y="7084"/>
                  </a:cubicBezTo>
                  <a:cubicBezTo>
                    <a:pt x="6123" y="5801"/>
                    <a:pt x="5881" y="4518"/>
                    <a:pt x="5720" y="3236"/>
                  </a:cubicBezTo>
                  <a:cubicBezTo>
                    <a:pt x="5660" y="2646"/>
                    <a:pt x="5539" y="2081"/>
                    <a:pt x="5458" y="1491"/>
                  </a:cubicBezTo>
                  <a:cubicBezTo>
                    <a:pt x="5398" y="1183"/>
                    <a:pt x="5438" y="952"/>
                    <a:pt x="5760" y="876"/>
                  </a:cubicBezTo>
                  <a:cubicBezTo>
                    <a:pt x="7089" y="465"/>
                    <a:pt x="8397" y="-48"/>
                    <a:pt x="9786" y="3"/>
                  </a:cubicBezTo>
                  <a:cubicBezTo>
                    <a:pt x="9907" y="3"/>
                    <a:pt x="10048" y="3"/>
                    <a:pt x="10189" y="29"/>
                  </a:cubicBezTo>
                  <a:cubicBezTo>
                    <a:pt x="10914" y="183"/>
                    <a:pt x="11155" y="722"/>
                    <a:pt x="10893" y="1619"/>
                  </a:cubicBezTo>
                  <a:cubicBezTo>
                    <a:pt x="10793" y="2030"/>
                    <a:pt x="10612" y="2415"/>
                    <a:pt x="10451" y="2825"/>
                  </a:cubicBezTo>
                  <a:cubicBezTo>
                    <a:pt x="9887" y="4210"/>
                    <a:pt x="10048" y="5519"/>
                    <a:pt x="10974" y="6571"/>
                  </a:cubicBezTo>
                  <a:cubicBezTo>
                    <a:pt x="11920" y="7648"/>
                    <a:pt x="13027" y="8084"/>
                    <a:pt x="14275" y="7776"/>
                  </a:cubicBezTo>
                  <a:cubicBezTo>
                    <a:pt x="15745" y="7391"/>
                    <a:pt x="16691" y="5134"/>
                    <a:pt x="16188" y="3184"/>
                  </a:cubicBezTo>
                  <a:cubicBezTo>
                    <a:pt x="16027" y="2594"/>
                    <a:pt x="15785" y="2056"/>
                    <a:pt x="15564" y="1466"/>
                  </a:cubicBezTo>
                  <a:cubicBezTo>
                    <a:pt x="15302" y="696"/>
                    <a:pt x="15383" y="414"/>
                    <a:pt x="16027" y="414"/>
                  </a:cubicBezTo>
                  <a:cubicBezTo>
                    <a:pt x="17074" y="414"/>
                    <a:pt x="18120" y="465"/>
                    <a:pt x="19167" y="568"/>
                  </a:cubicBezTo>
                  <a:cubicBezTo>
                    <a:pt x="19791" y="619"/>
                    <a:pt x="20435" y="824"/>
                    <a:pt x="21059" y="952"/>
                  </a:cubicBezTo>
                  <a:cubicBezTo>
                    <a:pt x="21341" y="1004"/>
                    <a:pt x="21462" y="1158"/>
                    <a:pt x="21442" y="1542"/>
                  </a:cubicBezTo>
                  <a:cubicBezTo>
                    <a:pt x="21442" y="5108"/>
                    <a:pt x="21442" y="8700"/>
                    <a:pt x="21442" y="12266"/>
                  </a:cubicBezTo>
                  <a:cubicBezTo>
                    <a:pt x="21422" y="16729"/>
                    <a:pt x="18583" y="20859"/>
                    <a:pt x="15121" y="21501"/>
                  </a:cubicBezTo>
                  <a:cubicBezTo>
                    <a:pt x="14819" y="21552"/>
                    <a:pt x="14477" y="21526"/>
                    <a:pt x="14155" y="21526"/>
                  </a:cubicBezTo>
                  <a:cubicBezTo>
                    <a:pt x="11316" y="21526"/>
                    <a:pt x="8478" y="21526"/>
                    <a:pt x="5619" y="21526"/>
                  </a:cubicBezTo>
                  <a:cubicBezTo>
                    <a:pt x="5478" y="21526"/>
                    <a:pt x="5337" y="21526"/>
                    <a:pt x="5136" y="21526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Shape">
              <a:extLst>
                <a:ext uri="{FF2B5EF4-FFF2-40B4-BE49-F238E27FC236}">
                  <a16:creationId xmlns:a16="http://schemas.microsoft.com/office/drawing/2014/main" id="{C418D90E-967A-4EAD-8686-D656B903C64F}"/>
                </a:ext>
              </a:extLst>
            </p:cNvPr>
            <p:cNvSpPr/>
            <p:nvPr/>
          </p:nvSpPr>
          <p:spPr>
            <a:xfrm rot="2782665">
              <a:off x="7312244" y="1665219"/>
              <a:ext cx="2032774" cy="16000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65" h="21552" extrusionOk="0">
                  <a:moveTo>
                    <a:pt x="16306" y="2"/>
                  </a:moveTo>
                  <a:cubicBezTo>
                    <a:pt x="16044" y="1029"/>
                    <a:pt x="15782" y="2005"/>
                    <a:pt x="15561" y="3007"/>
                  </a:cubicBezTo>
                  <a:cubicBezTo>
                    <a:pt x="15299" y="4188"/>
                    <a:pt x="15138" y="5395"/>
                    <a:pt x="15360" y="6602"/>
                  </a:cubicBezTo>
                  <a:cubicBezTo>
                    <a:pt x="15621" y="8143"/>
                    <a:pt x="16608" y="8863"/>
                    <a:pt x="17795" y="8426"/>
                  </a:cubicBezTo>
                  <a:cubicBezTo>
                    <a:pt x="18339" y="8220"/>
                    <a:pt x="18862" y="7964"/>
                    <a:pt x="19406" y="7835"/>
                  </a:cubicBezTo>
                  <a:cubicBezTo>
                    <a:pt x="20473" y="7604"/>
                    <a:pt x="21278" y="8349"/>
                    <a:pt x="21439" y="9710"/>
                  </a:cubicBezTo>
                  <a:cubicBezTo>
                    <a:pt x="21580" y="11097"/>
                    <a:pt x="21157" y="12356"/>
                    <a:pt x="20070" y="12535"/>
                  </a:cubicBezTo>
                  <a:cubicBezTo>
                    <a:pt x="19607" y="12587"/>
                    <a:pt x="19124" y="12510"/>
                    <a:pt x="18681" y="12433"/>
                  </a:cubicBezTo>
                  <a:cubicBezTo>
                    <a:pt x="18339" y="12381"/>
                    <a:pt x="18037" y="12176"/>
                    <a:pt x="17715" y="12047"/>
                  </a:cubicBezTo>
                  <a:cubicBezTo>
                    <a:pt x="16427" y="11534"/>
                    <a:pt x="15581" y="12227"/>
                    <a:pt x="15360" y="13948"/>
                  </a:cubicBezTo>
                  <a:cubicBezTo>
                    <a:pt x="15199" y="15078"/>
                    <a:pt x="15400" y="16157"/>
                    <a:pt x="15561" y="17235"/>
                  </a:cubicBezTo>
                  <a:cubicBezTo>
                    <a:pt x="15682" y="18134"/>
                    <a:pt x="15843" y="19008"/>
                    <a:pt x="16004" y="19907"/>
                  </a:cubicBezTo>
                  <a:cubicBezTo>
                    <a:pt x="16084" y="20369"/>
                    <a:pt x="15984" y="20626"/>
                    <a:pt x="15561" y="20754"/>
                  </a:cubicBezTo>
                  <a:cubicBezTo>
                    <a:pt x="14313" y="21114"/>
                    <a:pt x="13085" y="21576"/>
                    <a:pt x="11776" y="21550"/>
                  </a:cubicBezTo>
                  <a:cubicBezTo>
                    <a:pt x="10468" y="21550"/>
                    <a:pt x="10166" y="20883"/>
                    <a:pt x="10730" y="19393"/>
                  </a:cubicBezTo>
                  <a:cubicBezTo>
                    <a:pt x="10830" y="19136"/>
                    <a:pt x="10951" y="18879"/>
                    <a:pt x="11052" y="18622"/>
                  </a:cubicBezTo>
                  <a:cubicBezTo>
                    <a:pt x="11515" y="17441"/>
                    <a:pt x="11434" y="16259"/>
                    <a:pt x="10730" y="15283"/>
                  </a:cubicBezTo>
                  <a:cubicBezTo>
                    <a:pt x="9804" y="13999"/>
                    <a:pt x="8616" y="13486"/>
                    <a:pt x="7267" y="13768"/>
                  </a:cubicBezTo>
                  <a:cubicBezTo>
                    <a:pt x="5778" y="14076"/>
                    <a:pt x="4791" y="16337"/>
                    <a:pt x="5274" y="18288"/>
                  </a:cubicBezTo>
                  <a:cubicBezTo>
                    <a:pt x="5415" y="18905"/>
                    <a:pt x="5677" y="19496"/>
                    <a:pt x="5878" y="20086"/>
                  </a:cubicBezTo>
                  <a:cubicBezTo>
                    <a:pt x="6160" y="20857"/>
                    <a:pt x="6100" y="21114"/>
                    <a:pt x="5435" y="21139"/>
                  </a:cubicBezTo>
                  <a:cubicBezTo>
                    <a:pt x="4348" y="21165"/>
                    <a:pt x="3261" y="21088"/>
                    <a:pt x="2194" y="20985"/>
                  </a:cubicBezTo>
                  <a:cubicBezTo>
                    <a:pt x="1570" y="20934"/>
                    <a:pt x="966" y="20728"/>
                    <a:pt x="362" y="20600"/>
                  </a:cubicBezTo>
                  <a:cubicBezTo>
                    <a:pt x="121" y="20549"/>
                    <a:pt x="0" y="20446"/>
                    <a:pt x="0" y="20086"/>
                  </a:cubicBezTo>
                  <a:cubicBezTo>
                    <a:pt x="20" y="16542"/>
                    <a:pt x="-20" y="12998"/>
                    <a:pt x="20" y="9453"/>
                  </a:cubicBezTo>
                  <a:cubicBezTo>
                    <a:pt x="61" y="4650"/>
                    <a:pt x="3020" y="515"/>
                    <a:pt x="6764" y="104"/>
                  </a:cubicBezTo>
                  <a:cubicBezTo>
                    <a:pt x="7791" y="-24"/>
                    <a:pt x="8817" y="2"/>
                    <a:pt x="9864" y="2"/>
                  </a:cubicBezTo>
                  <a:cubicBezTo>
                    <a:pt x="11877" y="2"/>
                    <a:pt x="13890" y="2"/>
                    <a:pt x="15903" y="2"/>
                  </a:cubicBezTo>
                  <a:cubicBezTo>
                    <a:pt x="16024" y="2"/>
                    <a:pt x="16165" y="2"/>
                    <a:pt x="16306" y="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:a16="http://schemas.microsoft.com/office/drawing/2014/main" id="{4D703299-DFFE-4DA1-8965-F3EBBBEACAB0}"/>
                </a:ext>
              </a:extLst>
            </p:cNvPr>
            <p:cNvSpPr/>
            <p:nvPr/>
          </p:nvSpPr>
          <p:spPr>
            <a:xfrm rot="2782665">
              <a:off x="8301530" y="2568746"/>
              <a:ext cx="1593052" cy="2037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33" h="21558" extrusionOk="0">
                  <a:moveTo>
                    <a:pt x="21521" y="16375"/>
                  </a:moveTo>
                  <a:cubicBezTo>
                    <a:pt x="20542" y="16133"/>
                    <a:pt x="19666" y="15870"/>
                    <a:pt x="18738" y="15689"/>
                  </a:cubicBezTo>
                  <a:cubicBezTo>
                    <a:pt x="17552" y="15427"/>
                    <a:pt x="16341" y="15205"/>
                    <a:pt x="15078" y="15386"/>
                  </a:cubicBezTo>
                  <a:cubicBezTo>
                    <a:pt x="13454" y="15628"/>
                    <a:pt x="12655" y="16657"/>
                    <a:pt x="13119" y="17907"/>
                  </a:cubicBezTo>
                  <a:cubicBezTo>
                    <a:pt x="13351" y="18553"/>
                    <a:pt x="13634" y="19198"/>
                    <a:pt x="13660" y="19844"/>
                  </a:cubicBezTo>
                  <a:cubicBezTo>
                    <a:pt x="13737" y="20912"/>
                    <a:pt x="12861" y="21517"/>
                    <a:pt x="11495" y="21558"/>
                  </a:cubicBezTo>
                  <a:cubicBezTo>
                    <a:pt x="9922" y="21578"/>
                    <a:pt x="8994" y="21013"/>
                    <a:pt x="8969" y="19924"/>
                  </a:cubicBezTo>
                  <a:cubicBezTo>
                    <a:pt x="8969" y="19400"/>
                    <a:pt x="9123" y="18875"/>
                    <a:pt x="9252" y="18351"/>
                  </a:cubicBezTo>
                  <a:cubicBezTo>
                    <a:pt x="9278" y="18170"/>
                    <a:pt x="9407" y="17988"/>
                    <a:pt x="9484" y="17807"/>
                  </a:cubicBezTo>
                  <a:cubicBezTo>
                    <a:pt x="10026" y="16435"/>
                    <a:pt x="9149" y="15487"/>
                    <a:pt x="7293" y="15386"/>
                  </a:cubicBezTo>
                  <a:cubicBezTo>
                    <a:pt x="5824" y="15326"/>
                    <a:pt x="4432" y="15608"/>
                    <a:pt x="3040" y="15850"/>
                  </a:cubicBezTo>
                  <a:cubicBezTo>
                    <a:pt x="2370" y="15951"/>
                    <a:pt x="1700" y="16052"/>
                    <a:pt x="927" y="16173"/>
                  </a:cubicBezTo>
                  <a:cubicBezTo>
                    <a:pt x="643" y="15165"/>
                    <a:pt x="334" y="14217"/>
                    <a:pt x="128" y="13269"/>
                  </a:cubicBezTo>
                  <a:cubicBezTo>
                    <a:pt x="-1" y="12644"/>
                    <a:pt x="-27" y="11978"/>
                    <a:pt x="25" y="11353"/>
                  </a:cubicBezTo>
                  <a:cubicBezTo>
                    <a:pt x="76" y="10627"/>
                    <a:pt x="643" y="10365"/>
                    <a:pt x="1520" y="10607"/>
                  </a:cubicBezTo>
                  <a:cubicBezTo>
                    <a:pt x="1958" y="10728"/>
                    <a:pt x="2396" y="10909"/>
                    <a:pt x="2808" y="11070"/>
                  </a:cubicBezTo>
                  <a:cubicBezTo>
                    <a:pt x="4149" y="11615"/>
                    <a:pt x="5437" y="11474"/>
                    <a:pt x="6468" y="10607"/>
                  </a:cubicBezTo>
                  <a:cubicBezTo>
                    <a:pt x="7525" y="9739"/>
                    <a:pt x="7989" y="8691"/>
                    <a:pt x="7809" y="7501"/>
                  </a:cubicBezTo>
                  <a:cubicBezTo>
                    <a:pt x="7551" y="5867"/>
                    <a:pt x="5309" y="4798"/>
                    <a:pt x="3272" y="5282"/>
                  </a:cubicBezTo>
                  <a:cubicBezTo>
                    <a:pt x="2705" y="5423"/>
                    <a:pt x="2190" y="5645"/>
                    <a:pt x="1674" y="5847"/>
                  </a:cubicBezTo>
                  <a:cubicBezTo>
                    <a:pt x="643" y="6250"/>
                    <a:pt x="334" y="6109"/>
                    <a:pt x="334" y="5202"/>
                  </a:cubicBezTo>
                  <a:cubicBezTo>
                    <a:pt x="308" y="4415"/>
                    <a:pt x="334" y="3588"/>
                    <a:pt x="437" y="2802"/>
                  </a:cubicBezTo>
                  <a:cubicBezTo>
                    <a:pt x="540" y="1975"/>
                    <a:pt x="772" y="1188"/>
                    <a:pt x="927" y="381"/>
                  </a:cubicBezTo>
                  <a:cubicBezTo>
                    <a:pt x="978" y="119"/>
                    <a:pt x="1107" y="18"/>
                    <a:pt x="1468" y="18"/>
                  </a:cubicBezTo>
                  <a:cubicBezTo>
                    <a:pt x="5025" y="18"/>
                    <a:pt x="8582" y="-22"/>
                    <a:pt x="12113" y="18"/>
                  </a:cubicBezTo>
                  <a:cubicBezTo>
                    <a:pt x="16856" y="79"/>
                    <a:pt x="20877" y="2963"/>
                    <a:pt x="21418" y="6633"/>
                  </a:cubicBezTo>
                  <a:cubicBezTo>
                    <a:pt x="21573" y="7783"/>
                    <a:pt x="21521" y="8953"/>
                    <a:pt x="21521" y="10102"/>
                  </a:cubicBezTo>
                  <a:cubicBezTo>
                    <a:pt x="21547" y="12059"/>
                    <a:pt x="21521" y="13995"/>
                    <a:pt x="21521" y="15951"/>
                  </a:cubicBezTo>
                  <a:cubicBezTo>
                    <a:pt x="21521" y="16072"/>
                    <a:pt x="21521" y="16213"/>
                    <a:pt x="21521" y="16375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lIns="45719" rIns="45719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Sample Text">
              <a:extLst>
                <a:ext uri="{FF2B5EF4-FFF2-40B4-BE49-F238E27FC236}">
                  <a16:creationId xmlns:a16="http://schemas.microsoft.com/office/drawing/2014/main" id="{3C4A8DAC-D96A-47A8-972A-46FB61943016}"/>
                </a:ext>
              </a:extLst>
            </p:cNvPr>
            <p:cNvSpPr txBox="1"/>
            <p:nvPr/>
          </p:nvSpPr>
          <p:spPr>
            <a:xfrm>
              <a:off x="7580483" y="1907445"/>
              <a:ext cx="1266093" cy="2462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>
              <a:lvl1pPr>
                <a:defRPr sz="1100" b="1">
                  <a:solidFill>
                    <a:srgbClr val="595959"/>
                  </a:solidFill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rPr>
                <a:t>Ledere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endParaRPr>
            </a:p>
          </p:txBody>
        </p:sp>
        <p:sp>
          <p:nvSpPr>
            <p:cNvPr id="60" name="Sample Text">
              <a:extLst>
                <a:ext uri="{FF2B5EF4-FFF2-40B4-BE49-F238E27FC236}">
                  <a16:creationId xmlns:a16="http://schemas.microsoft.com/office/drawing/2014/main" id="{AEAEF9A5-2566-4E2C-8F67-F9D1E3789B82}"/>
                </a:ext>
              </a:extLst>
            </p:cNvPr>
            <p:cNvSpPr txBox="1"/>
            <p:nvPr/>
          </p:nvSpPr>
          <p:spPr>
            <a:xfrm>
              <a:off x="6314390" y="3107060"/>
              <a:ext cx="1266093" cy="2462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>
              <a:lvl1pPr>
                <a:defRPr sz="1100" b="1">
                  <a:solidFill>
                    <a:srgbClr val="595959"/>
                  </a:solidFill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rPr>
                <a:t>Analytikere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endParaRPr>
            </a:p>
          </p:txBody>
        </p:sp>
        <p:sp>
          <p:nvSpPr>
            <p:cNvPr id="62" name="Sample Text">
              <a:extLst>
                <a:ext uri="{FF2B5EF4-FFF2-40B4-BE49-F238E27FC236}">
                  <a16:creationId xmlns:a16="http://schemas.microsoft.com/office/drawing/2014/main" id="{AF526DBC-09D3-4ED0-B20C-8142715AD8FB}"/>
                </a:ext>
              </a:extLst>
            </p:cNvPr>
            <p:cNvSpPr txBox="1"/>
            <p:nvPr/>
          </p:nvSpPr>
          <p:spPr>
            <a:xfrm>
              <a:off x="8677508" y="3429000"/>
              <a:ext cx="1266093" cy="2462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>
              <a:lvl1pPr>
                <a:defRPr sz="1100" b="1">
                  <a:solidFill>
                    <a:srgbClr val="595959"/>
                  </a:solidFill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>
                  <a:ln>
                    <a:noFill/>
                  </a:ln>
                  <a:solidFill>
                    <a:srgbClr val="0C0C0C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rPr>
                <a:t>Praktikere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endParaRPr>
            </a:p>
          </p:txBody>
        </p:sp>
        <p:sp>
          <p:nvSpPr>
            <p:cNvPr id="63" name="Sample Text">
              <a:extLst>
                <a:ext uri="{FF2B5EF4-FFF2-40B4-BE49-F238E27FC236}">
                  <a16:creationId xmlns:a16="http://schemas.microsoft.com/office/drawing/2014/main" id="{0619C30C-11DC-4536-ACF1-5DB309195D9B}"/>
                </a:ext>
              </a:extLst>
            </p:cNvPr>
            <p:cNvSpPr txBox="1"/>
            <p:nvPr/>
          </p:nvSpPr>
          <p:spPr>
            <a:xfrm>
              <a:off x="7526584" y="4586539"/>
              <a:ext cx="1266093" cy="24622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9" rIns="45719">
              <a:spAutoFit/>
            </a:bodyPr>
            <a:lstStyle>
              <a:lvl1pPr>
                <a:defRPr sz="1100" b="1">
                  <a:solidFill>
                    <a:srgbClr val="595959"/>
                  </a:solidFill>
                  <a:latin typeface="+mj-lt"/>
                  <a:ea typeface="+mj-ea"/>
                  <a:cs typeface="+mj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>
                  <a:ln>
                    <a:noFill/>
                  </a:ln>
                  <a:solidFill>
                    <a:srgbClr val="0C0C0C"/>
                  </a:solidFill>
                  <a:effectLst/>
                  <a:uLnTx/>
                  <a:uFillTx/>
                  <a:latin typeface="Verdana"/>
                  <a:ea typeface="+mj-ea"/>
                  <a:cs typeface="+mj-cs"/>
                  <a:sym typeface="Helvetica"/>
                </a:rPr>
                <a:t>Spesialister</a:t>
              </a:r>
              <a:endParaRPr kumimoji="0" sz="1000" b="0" i="0" u="none" strike="noStrike" kern="120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0263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DC831B-B266-42CF-8E5B-E12B64273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000"/>
              <a:t>Tjenester: Sikre gode prosjekter - fysiske og digitale</a:t>
            </a:r>
            <a:endParaRPr lang="nb-NO"/>
          </a:p>
        </p:txBody>
      </p:sp>
      <p:sp>
        <p:nvSpPr>
          <p:cNvPr id="31" name="Rectangle">
            <a:extLst>
              <a:ext uri="{FF2B5EF4-FFF2-40B4-BE49-F238E27FC236}">
                <a16:creationId xmlns:a16="http://schemas.microsoft.com/office/drawing/2014/main" id="{15B6DDBC-A6D1-42CD-A512-21A34C5CED8A}"/>
              </a:ext>
            </a:extLst>
          </p:cNvPr>
          <p:cNvSpPr/>
          <p:nvPr/>
        </p:nvSpPr>
        <p:spPr>
          <a:xfrm>
            <a:off x="2973273" y="2180603"/>
            <a:ext cx="2089761" cy="2496793"/>
          </a:xfrm>
          <a:prstGeom prst="rect">
            <a:avLst/>
          </a:prstGeom>
          <a:solidFill>
            <a:srgbClr val="F2F2F2"/>
          </a:solidFill>
          <a:ln w="6350">
            <a:solidFill>
              <a:srgbClr val="D9D9D9"/>
            </a:solidFill>
            <a:miter/>
          </a:ln>
        </p:spPr>
        <p:txBody>
          <a:bodyPr lIns="108000" tIns="108000" rIns="108000" bIns="10800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rosjekteiersty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onseptvalgutredning og alternativanalys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onseptutvikl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Analyse og beslutningsstøtt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valitetssikring</a:t>
            </a:r>
          </a:p>
        </p:txBody>
      </p:sp>
      <p:sp>
        <p:nvSpPr>
          <p:cNvPr id="32" name="Rectangle">
            <a:extLst>
              <a:ext uri="{FF2B5EF4-FFF2-40B4-BE49-F238E27FC236}">
                <a16:creationId xmlns:a16="http://schemas.microsoft.com/office/drawing/2014/main" id="{35BF9DD4-6EAF-4B24-9E56-7584C2E7E090}"/>
              </a:ext>
            </a:extLst>
          </p:cNvPr>
          <p:cNvSpPr/>
          <p:nvPr/>
        </p:nvSpPr>
        <p:spPr>
          <a:xfrm>
            <a:off x="5160499" y="2200892"/>
            <a:ext cx="2089762" cy="2496793"/>
          </a:xfrm>
          <a:prstGeom prst="rect">
            <a:avLst/>
          </a:prstGeom>
          <a:solidFill>
            <a:srgbClr val="F2F2F2"/>
          </a:solidFill>
          <a:ln w="6350">
            <a:solidFill>
              <a:srgbClr val="D9D9D9"/>
            </a:solidFill>
            <a:miter/>
          </a:ln>
        </p:spPr>
        <p:txBody>
          <a:bodyPr lIns="108000" tIns="108000" rIns="108000" bIns="10800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rosjekt- og programledels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rosjektsty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Gjennomføringsmodell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valitetssik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ostnadsestime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Usikkerhetsanalyser</a:t>
            </a:r>
          </a:p>
        </p:txBody>
      </p:sp>
      <p:sp>
        <p:nvSpPr>
          <p:cNvPr id="33" name="Rectangle">
            <a:extLst>
              <a:ext uri="{FF2B5EF4-FFF2-40B4-BE49-F238E27FC236}">
                <a16:creationId xmlns:a16="http://schemas.microsoft.com/office/drawing/2014/main" id="{A6C76DE9-29DF-459D-89EB-3C4722822567}"/>
              </a:ext>
            </a:extLst>
          </p:cNvPr>
          <p:cNvSpPr/>
          <p:nvPr/>
        </p:nvSpPr>
        <p:spPr>
          <a:xfrm>
            <a:off x="9437487" y="2180603"/>
            <a:ext cx="2089762" cy="2496794"/>
          </a:xfrm>
          <a:prstGeom prst="rect">
            <a:avLst/>
          </a:prstGeom>
          <a:solidFill>
            <a:srgbClr val="F2F2F2"/>
          </a:solidFill>
          <a:ln w="6350">
            <a:solidFill>
              <a:srgbClr val="D9D9D9"/>
            </a:solidFill>
            <a:miter/>
          </a:ln>
        </p:spPr>
        <p:txBody>
          <a:bodyPr lIns="108000" tIns="108000" rIns="108000" bIns="10800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Juridiske rådgiv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Avtal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Tvisteløsn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Offentlige anskaffels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rosjektjuss</a:t>
            </a:r>
          </a:p>
        </p:txBody>
      </p:sp>
      <p:sp>
        <p:nvSpPr>
          <p:cNvPr id="34" name="Rectangle">
            <a:extLst>
              <a:ext uri="{FF2B5EF4-FFF2-40B4-BE49-F238E27FC236}">
                <a16:creationId xmlns:a16="http://schemas.microsoft.com/office/drawing/2014/main" id="{45EC52F2-50D8-42C1-B7F8-7A99CD0A6763}"/>
              </a:ext>
            </a:extLst>
          </p:cNvPr>
          <p:cNvSpPr/>
          <p:nvPr/>
        </p:nvSpPr>
        <p:spPr>
          <a:xfrm>
            <a:off x="7298993" y="2180604"/>
            <a:ext cx="2089762" cy="2496793"/>
          </a:xfrm>
          <a:prstGeom prst="rect">
            <a:avLst/>
          </a:prstGeom>
          <a:solidFill>
            <a:srgbClr val="F2F2F2"/>
          </a:solidFill>
          <a:ln w="6350">
            <a:solidFill>
              <a:srgbClr val="D9D9D9"/>
            </a:solidFill>
            <a:miter/>
          </a:ln>
        </p:spPr>
        <p:txBody>
          <a:bodyPr lIns="108000" tIns="108000" rIns="108000" bIns="10800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ontrakt- og gjennomføringsstrategi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Anskaffels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Endringssty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Dokumentasjon av urasjonell drift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Forhandlinger</a:t>
            </a:r>
          </a:p>
        </p:txBody>
      </p:sp>
      <p:sp>
        <p:nvSpPr>
          <p:cNvPr id="35" name="Rectangle">
            <a:extLst>
              <a:ext uri="{FF2B5EF4-FFF2-40B4-BE49-F238E27FC236}">
                <a16:creationId xmlns:a16="http://schemas.microsoft.com/office/drawing/2014/main" id="{522DF6FC-E65B-4F24-89C7-3EE56B215A99}"/>
              </a:ext>
            </a:extLst>
          </p:cNvPr>
          <p:cNvSpPr/>
          <p:nvPr/>
        </p:nvSpPr>
        <p:spPr>
          <a:xfrm>
            <a:off x="2973273" y="1280603"/>
            <a:ext cx="2089761" cy="900000"/>
          </a:xfrm>
          <a:prstGeom prst="rect">
            <a:avLst/>
          </a:prstGeom>
          <a:solidFill>
            <a:schemeClr val="tx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STANDART">
            <a:extLst>
              <a:ext uri="{FF2B5EF4-FFF2-40B4-BE49-F238E27FC236}">
                <a16:creationId xmlns:a16="http://schemas.microsoft.com/office/drawing/2014/main" id="{A5B45EA9-1B53-44E2-A30F-C481A9C0F420}"/>
              </a:ext>
            </a:extLst>
          </p:cNvPr>
          <p:cNvSpPr txBox="1"/>
          <p:nvPr/>
        </p:nvSpPr>
        <p:spPr>
          <a:xfrm>
            <a:off x="3070739" y="1349593"/>
            <a:ext cx="1305091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100" b="1">
                <a:solidFill>
                  <a:srgbClr val="F6F6F6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RIKTI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PROSJEKT</a:t>
            </a:r>
          </a:p>
        </p:txBody>
      </p:sp>
      <p:sp>
        <p:nvSpPr>
          <p:cNvPr id="41" name="Rectangle">
            <a:extLst>
              <a:ext uri="{FF2B5EF4-FFF2-40B4-BE49-F238E27FC236}">
                <a16:creationId xmlns:a16="http://schemas.microsoft.com/office/drawing/2014/main" id="{CCE656C7-B499-493E-8FD4-4023678AFEED}"/>
              </a:ext>
            </a:extLst>
          </p:cNvPr>
          <p:cNvSpPr/>
          <p:nvPr/>
        </p:nvSpPr>
        <p:spPr>
          <a:xfrm>
            <a:off x="5160499" y="1300892"/>
            <a:ext cx="2089762" cy="900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PROFESSIONAL">
            <a:extLst>
              <a:ext uri="{FF2B5EF4-FFF2-40B4-BE49-F238E27FC236}">
                <a16:creationId xmlns:a16="http://schemas.microsoft.com/office/drawing/2014/main" id="{2E22C00E-0B9B-4624-ABE0-095C7AD02191}"/>
              </a:ext>
            </a:extLst>
          </p:cNvPr>
          <p:cNvSpPr txBox="1"/>
          <p:nvPr/>
        </p:nvSpPr>
        <p:spPr>
          <a:xfrm>
            <a:off x="5257965" y="1369882"/>
            <a:ext cx="1757662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100" b="1">
                <a:solidFill>
                  <a:srgbClr val="F6F6F6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SIK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ENKELTPROSJEKTER</a:t>
            </a:r>
            <a:endParaRPr kumimoji="0" sz="1100" b="1" i="0" u="none" strike="noStrike" kern="1200" cap="none" spc="0" normalizeH="0" baseline="0" noProof="0">
              <a:ln>
                <a:noFill/>
              </a:ln>
              <a:solidFill>
                <a:srgbClr val="F6F6F6"/>
              </a:solidFill>
              <a:effectLst/>
              <a:uLnTx/>
              <a:uFillTx/>
              <a:latin typeface="Verdana"/>
              <a:ea typeface="+mj-ea"/>
              <a:cs typeface="+mj-cs"/>
              <a:sym typeface="Helvetica"/>
            </a:endParaRPr>
          </a:p>
        </p:txBody>
      </p:sp>
      <p:sp>
        <p:nvSpPr>
          <p:cNvPr id="47" name="Rectangle">
            <a:extLst>
              <a:ext uri="{FF2B5EF4-FFF2-40B4-BE49-F238E27FC236}">
                <a16:creationId xmlns:a16="http://schemas.microsoft.com/office/drawing/2014/main" id="{59CBEE87-4772-4A2F-BED8-7E843BD9B65E}"/>
              </a:ext>
            </a:extLst>
          </p:cNvPr>
          <p:cNvSpPr/>
          <p:nvPr/>
        </p:nvSpPr>
        <p:spPr>
          <a:xfrm>
            <a:off x="9437487" y="1280604"/>
            <a:ext cx="2089762" cy="900000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ESSENTIAL">
            <a:extLst>
              <a:ext uri="{FF2B5EF4-FFF2-40B4-BE49-F238E27FC236}">
                <a16:creationId xmlns:a16="http://schemas.microsoft.com/office/drawing/2014/main" id="{9C9126E3-E24E-4D89-9966-89E25D0E4B26}"/>
              </a:ext>
            </a:extLst>
          </p:cNvPr>
          <p:cNvSpPr txBox="1"/>
          <p:nvPr/>
        </p:nvSpPr>
        <p:spPr>
          <a:xfrm>
            <a:off x="9534952" y="1349594"/>
            <a:ext cx="1611466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100" b="1">
                <a:solidFill>
                  <a:srgbClr val="F6F6F6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JURIDISKE TJENESTER</a:t>
            </a:r>
          </a:p>
        </p:txBody>
      </p:sp>
      <p:sp>
        <p:nvSpPr>
          <p:cNvPr id="53" name="Rectangle">
            <a:extLst>
              <a:ext uri="{FF2B5EF4-FFF2-40B4-BE49-F238E27FC236}">
                <a16:creationId xmlns:a16="http://schemas.microsoft.com/office/drawing/2014/main" id="{90C8584D-F2F9-411A-BBAD-2832AEC138E2}"/>
              </a:ext>
            </a:extLst>
          </p:cNvPr>
          <p:cNvSpPr/>
          <p:nvPr/>
        </p:nvSpPr>
        <p:spPr>
          <a:xfrm>
            <a:off x="7298993" y="1280604"/>
            <a:ext cx="2089762" cy="900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EXCLUSIVE">
            <a:extLst>
              <a:ext uri="{FF2B5EF4-FFF2-40B4-BE49-F238E27FC236}">
                <a16:creationId xmlns:a16="http://schemas.microsoft.com/office/drawing/2014/main" id="{B8FCF82F-380F-4475-9276-D42FC4A81411}"/>
              </a:ext>
            </a:extLst>
          </p:cNvPr>
          <p:cNvSpPr txBox="1"/>
          <p:nvPr/>
        </p:nvSpPr>
        <p:spPr>
          <a:xfrm>
            <a:off x="7396458" y="1349594"/>
            <a:ext cx="1855128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100" b="1">
                <a:solidFill>
                  <a:srgbClr val="F6F6F6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KONTRAKT O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ANSKAFFELSER</a:t>
            </a:r>
            <a:endParaRPr kumimoji="0" sz="1100" b="1" i="0" u="none" strike="noStrike" kern="1200" cap="none" spc="0" normalizeH="0" baseline="0" noProof="0">
              <a:ln>
                <a:noFill/>
              </a:ln>
              <a:solidFill>
                <a:srgbClr val="F6F6F6"/>
              </a:solidFill>
              <a:effectLst/>
              <a:uLnTx/>
              <a:uFillTx/>
              <a:latin typeface="Verdana"/>
              <a:ea typeface="+mj-ea"/>
              <a:cs typeface="+mj-cs"/>
              <a:sym typeface="Helvetica"/>
            </a:endParaRPr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id="{3B799A6C-61B3-4160-AFC9-B1CB99F589BF}"/>
              </a:ext>
            </a:extLst>
          </p:cNvPr>
          <p:cNvSpPr/>
          <p:nvPr/>
        </p:nvSpPr>
        <p:spPr>
          <a:xfrm>
            <a:off x="799668" y="4822927"/>
            <a:ext cx="10727581" cy="900001"/>
          </a:xfrm>
          <a:prstGeom prst="rect">
            <a:avLst/>
          </a:prstGeom>
          <a:solidFill>
            <a:srgbClr val="F2F2F2"/>
          </a:solidFill>
          <a:ln w="6350">
            <a:solidFill>
              <a:srgbClr val="D9D9D9"/>
            </a:solidFill>
            <a:miter/>
          </a:ln>
        </p:spPr>
        <p:txBody>
          <a:bodyPr lIns="108000" tIns="108000" rIns="108000" bIns="10800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Spesialiteter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: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Tidligfas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,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rosjektutvikling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, design to cost,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 samspillsmodelle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,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ontraktstrategi og offentlige anskaffelser.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Vanskeligstilt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og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kompleks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rosjekter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.</a:t>
            </a: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A778B68A-8612-4DFA-92F1-D8C34596B1C9}"/>
              </a:ext>
            </a:extLst>
          </p:cNvPr>
          <p:cNvSpPr/>
          <p:nvPr/>
        </p:nvSpPr>
        <p:spPr>
          <a:xfrm>
            <a:off x="799668" y="1280603"/>
            <a:ext cx="2089761" cy="900000"/>
          </a:xfrm>
          <a:prstGeom prst="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">
            <a:extLst>
              <a:ext uri="{FF2B5EF4-FFF2-40B4-BE49-F238E27FC236}">
                <a16:creationId xmlns:a16="http://schemas.microsoft.com/office/drawing/2014/main" id="{D3B1C87B-25A5-407D-85E0-9A461F682BED}"/>
              </a:ext>
            </a:extLst>
          </p:cNvPr>
          <p:cNvSpPr/>
          <p:nvPr/>
        </p:nvSpPr>
        <p:spPr>
          <a:xfrm>
            <a:off x="799668" y="2180603"/>
            <a:ext cx="2089761" cy="2496793"/>
          </a:xfrm>
          <a:prstGeom prst="rect">
            <a:avLst/>
          </a:prstGeom>
          <a:solidFill>
            <a:srgbClr val="F2F2F2"/>
          </a:solidFill>
          <a:ln w="6350">
            <a:solidFill>
              <a:srgbClr val="D9D9D9"/>
            </a:solidFill>
            <a:miter/>
          </a:ln>
        </p:spPr>
        <p:txBody>
          <a:bodyPr lIns="108000" tIns="108000" rIns="108000" bIns="108000" anchor="t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Strategisk rådgivn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Organisering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Eiersty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orteføljestyring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PMO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Beste praksis prosjektmetode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ＭＳ Ｐゴシック" pitchFamily="-65" charset="-128"/>
                <a:cs typeface="Calibri" pitchFamily="34" charset="0"/>
              </a:rPr>
              <a:t>Opplæring (Kurs)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ＭＳ Ｐゴシック" pitchFamily="-65" charset="-128"/>
              <a:cs typeface="Calibri" pitchFamily="34" charset="0"/>
            </a:endParaRPr>
          </a:p>
        </p:txBody>
      </p:sp>
      <p:sp>
        <p:nvSpPr>
          <p:cNvPr id="20" name="ESSENTIAL">
            <a:extLst>
              <a:ext uri="{FF2B5EF4-FFF2-40B4-BE49-F238E27FC236}">
                <a16:creationId xmlns:a16="http://schemas.microsoft.com/office/drawing/2014/main" id="{8470334E-3994-4596-ACA8-9B25A389C824}"/>
              </a:ext>
            </a:extLst>
          </p:cNvPr>
          <p:cNvSpPr txBox="1"/>
          <p:nvPr/>
        </p:nvSpPr>
        <p:spPr>
          <a:xfrm>
            <a:off x="906307" y="1369882"/>
            <a:ext cx="1426711" cy="4154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100" b="1">
                <a:solidFill>
                  <a:srgbClr val="F6F6F6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F6F6F6"/>
                </a:solidFill>
                <a:effectLst/>
                <a:uLnTx/>
                <a:uFillTx/>
                <a:latin typeface="Verdana"/>
                <a:ea typeface="+mj-ea"/>
                <a:cs typeface="+mj-cs"/>
                <a:sym typeface="Helvetica"/>
              </a:rPr>
              <a:t>VIRKSOMHETS-RÅDGIVNING</a:t>
            </a:r>
          </a:p>
        </p:txBody>
      </p:sp>
    </p:spTree>
    <p:extLst>
      <p:ext uri="{BB962C8B-B14F-4D97-AF65-F5344CB8AC3E}">
        <p14:creationId xmlns:p14="http://schemas.microsoft.com/office/powerpoint/2010/main" val="3580553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9" name="Bilde 2058">
            <a:extLst>
              <a:ext uri="{FF2B5EF4-FFF2-40B4-BE49-F238E27FC236}">
                <a16:creationId xmlns:a16="http://schemas.microsoft.com/office/drawing/2014/main" id="{4CE5C601-C43E-4023-8ABE-7457A1618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9367" y="4993856"/>
            <a:ext cx="1158763" cy="608151"/>
          </a:xfrm>
          <a:prstGeom prst="rect">
            <a:avLst/>
          </a:prstGeom>
        </p:spPr>
      </p:pic>
      <p:pic>
        <p:nvPicPr>
          <p:cNvPr id="29" name="Bilde 28">
            <a:extLst>
              <a:ext uri="{FF2B5EF4-FFF2-40B4-BE49-F238E27FC236}">
                <a16:creationId xmlns:a16="http://schemas.microsoft.com/office/drawing/2014/main" id="{E2C0409B-1D94-4D36-921B-49244D4738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7185" y="4382593"/>
            <a:ext cx="1328596" cy="744014"/>
          </a:xfrm>
          <a:prstGeom prst="rect">
            <a:avLst/>
          </a:prstGeom>
        </p:spPr>
      </p:pic>
      <p:sp>
        <p:nvSpPr>
          <p:cNvPr id="43" name="Rektangel 42">
            <a:extLst>
              <a:ext uri="{FF2B5EF4-FFF2-40B4-BE49-F238E27FC236}">
                <a16:creationId xmlns:a16="http://schemas.microsoft.com/office/drawing/2014/main" id="{39135D8E-7B3D-40C5-A140-31D2A8821BF2}"/>
              </a:ext>
            </a:extLst>
          </p:cNvPr>
          <p:cNvSpPr/>
          <p:nvPr/>
        </p:nvSpPr>
        <p:spPr>
          <a:xfrm>
            <a:off x="245692" y="1245779"/>
            <a:ext cx="2193226" cy="6240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ksempel på oppgaver </a:t>
            </a: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75A3B033-C567-4BCA-80A0-7E22F8169CED}"/>
              </a:ext>
            </a:extLst>
          </p:cNvPr>
          <p:cNvSpPr/>
          <p:nvPr/>
        </p:nvSpPr>
        <p:spPr>
          <a:xfrm>
            <a:off x="9785035" y="1260706"/>
            <a:ext cx="2193226" cy="6240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treprenører</a:t>
            </a:r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F9EB99A5-343C-415A-BE20-FBA4ED4D09EC}"/>
              </a:ext>
            </a:extLst>
          </p:cNvPr>
          <p:cNvSpPr/>
          <p:nvPr/>
        </p:nvSpPr>
        <p:spPr>
          <a:xfrm>
            <a:off x="7433025" y="1254077"/>
            <a:ext cx="2193226" cy="62409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iendomsselskaper og andre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13BA54C5-8094-4D80-B7E7-6EF9324D61CE}"/>
              </a:ext>
            </a:extLst>
          </p:cNvPr>
          <p:cNvSpPr/>
          <p:nvPr/>
        </p:nvSpPr>
        <p:spPr>
          <a:xfrm>
            <a:off x="5025097" y="1249220"/>
            <a:ext cx="2193226" cy="6240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tlige byggherrer</a:t>
            </a:r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EC241D19-2E8A-4231-B5D4-12703C0D3C04}"/>
              </a:ext>
            </a:extLst>
          </p:cNvPr>
          <p:cNvSpPr/>
          <p:nvPr/>
        </p:nvSpPr>
        <p:spPr>
          <a:xfrm>
            <a:off x="2602627" y="1256654"/>
            <a:ext cx="2207768" cy="6240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mmuner</a:t>
            </a:r>
          </a:p>
        </p:txBody>
      </p:sp>
      <p:pic>
        <p:nvPicPr>
          <p:cNvPr id="27" name="Bilde 26">
            <a:extLst>
              <a:ext uri="{FF2B5EF4-FFF2-40B4-BE49-F238E27FC236}">
                <a16:creationId xmlns:a16="http://schemas.microsoft.com/office/drawing/2014/main" id="{9157EF8A-D725-4AC0-8AB7-8F44F6AC9D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88088" y="4232420"/>
            <a:ext cx="1109108" cy="110910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66F74996-1C6C-4DF9-B43B-FDD9B73C2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986"/>
            <a:ext cx="12192000" cy="540000"/>
          </a:xfrm>
        </p:spPr>
        <p:txBody>
          <a:bodyPr/>
          <a:lstStyle/>
          <a:p>
            <a:r>
              <a:rPr lang="nb-NO"/>
              <a:t>Samspill: Kilder og referans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9A89B37-DA0D-425E-9919-315C27FFB7B3}"/>
              </a:ext>
            </a:extLst>
          </p:cNvPr>
          <p:cNvSpPr txBox="1"/>
          <p:nvPr/>
        </p:nvSpPr>
        <p:spPr>
          <a:xfrm>
            <a:off x="116343" y="1942025"/>
            <a:ext cx="2422379" cy="282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10456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10456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raktstrategi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trakt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nkurranse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sjektutvikl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sjektledel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u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10456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10456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8" name="Picture 6" descr="Bilderesultat for ski kommune logo">
            <a:extLst>
              <a:ext uri="{FF2B5EF4-FFF2-40B4-BE49-F238E27FC236}">
                <a16:creationId xmlns:a16="http://schemas.microsoft.com/office/drawing/2014/main" id="{092344EC-0B85-4E99-9664-F5B0A3DBF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511" y="4522397"/>
            <a:ext cx="1126497" cy="482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7AD291FE-A653-4A5F-A80F-45B6B2E8F7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78381" y="2032433"/>
            <a:ext cx="590437" cy="699328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595B0D3F-F3D9-4950-BEC9-8FF15291B9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7979" y="4020767"/>
            <a:ext cx="637931" cy="674260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7566C690-E6F0-4625-AD62-B212DA3FCD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07949" y="3417608"/>
            <a:ext cx="931462" cy="368922"/>
          </a:xfrm>
          <a:prstGeom prst="rect">
            <a:avLst/>
          </a:prstGeom>
        </p:spPr>
      </p:pic>
      <p:pic>
        <p:nvPicPr>
          <p:cNvPr id="2050" name="Picture 2" descr="Bilderesultat for oppegÃ¥rd kommune logo">
            <a:extLst>
              <a:ext uri="{FF2B5EF4-FFF2-40B4-BE49-F238E27FC236}">
                <a16:creationId xmlns:a16="http://schemas.microsoft.com/office/drawing/2014/main" id="{70CE5A70-585C-4436-BC55-DFC1C1E45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224" y="5042148"/>
            <a:ext cx="1082967" cy="483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498706B1-E8D0-414A-AF76-94FCC3128CE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95085" y="3006120"/>
            <a:ext cx="579273" cy="441780"/>
          </a:xfrm>
          <a:prstGeom prst="rect">
            <a:avLst/>
          </a:prstGeom>
        </p:spPr>
      </p:pic>
      <p:pic>
        <p:nvPicPr>
          <p:cNvPr id="16" name="Picture 4" descr="Bilderesultat for sykehusbygg logo">
            <a:extLst>
              <a:ext uri="{FF2B5EF4-FFF2-40B4-BE49-F238E27FC236}">
                <a16:creationId xmlns:a16="http://schemas.microsoft.com/office/drawing/2014/main" id="{644A7E4C-916D-4516-A8D4-1C368125F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322" y="2512527"/>
            <a:ext cx="1595069" cy="30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4EED1AB1-01CA-49C6-9193-C1D44CCDBBE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64897" y="3782122"/>
            <a:ext cx="931462" cy="931462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5C7D51C5-1019-4662-96F4-8B24AA78103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135755" y="2714150"/>
            <a:ext cx="540781" cy="538470"/>
          </a:xfrm>
          <a:prstGeom prst="rect">
            <a:avLst/>
          </a:prstGeom>
        </p:spPr>
      </p:pic>
      <p:pic>
        <p:nvPicPr>
          <p:cNvPr id="19" name="Bilde 18">
            <a:extLst>
              <a:ext uri="{FF2B5EF4-FFF2-40B4-BE49-F238E27FC236}">
                <a16:creationId xmlns:a16="http://schemas.microsoft.com/office/drawing/2014/main" id="{B9FAAFA1-B883-4677-9831-F14B8E51523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23233" y="3598602"/>
            <a:ext cx="1158427" cy="253620"/>
          </a:xfrm>
          <a:prstGeom prst="rect">
            <a:avLst/>
          </a:prstGeom>
        </p:spPr>
      </p:pic>
      <p:pic>
        <p:nvPicPr>
          <p:cNvPr id="20" name="Picture 8" descr="Relatert bilde">
            <a:extLst>
              <a:ext uri="{FF2B5EF4-FFF2-40B4-BE49-F238E27FC236}">
                <a16:creationId xmlns:a16="http://schemas.microsoft.com/office/drawing/2014/main" id="{BBCE15C5-070C-4CB2-B932-D4A37E480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279" y="3472445"/>
            <a:ext cx="1544354" cy="425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0" descr="Bilderesultat for Nye veier logo">
            <a:extLst>
              <a:ext uri="{FF2B5EF4-FFF2-40B4-BE49-F238E27FC236}">
                <a16:creationId xmlns:a16="http://schemas.microsoft.com/office/drawing/2014/main" id="{1DA2D1E4-DAB1-4CB1-8ECB-B2AE3C92E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8022" y="3878911"/>
            <a:ext cx="847248" cy="451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C68DD017-797B-40DD-BEF7-430B1364F0B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149781" y="2866582"/>
            <a:ext cx="1761879" cy="721559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5C5650F8-B2B4-4C82-B6F2-F5D70B8DB13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7001" y="2901464"/>
            <a:ext cx="1313769" cy="46687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2C01764C-4BB9-4498-A4E8-CDBA3ED672D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315750" y="5554884"/>
            <a:ext cx="1134721" cy="608151"/>
          </a:xfrm>
          <a:prstGeom prst="rect">
            <a:avLst/>
          </a:prstGeom>
        </p:spPr>
      </p:pic>
      <p:pic>
        <p:nvPicPr>
          <p:cNvPr id="25" name="Bilde 24">
            <a:extLst>
              <a:ext uri="{FF2B5EF4-FFF2-40B4-BE49-F238E27FC236}">
                <a16:creationId xmlns:a16="http://schemas.microsoft.com/office/drawing/2014/main" id="{31AB1AAB-42A1-4360-9EF6-85834BA417B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904425" y="4020767"/>
            <a:ext cx="1073836" cy="424121"/>
          </a:xfrm>
          <a:prstGeom prst="rect">
            <a:avLst/>
          </a:prstGeom>
        </p:spPr>
      </p:pic>
      <p:pic>
        <p:nvPicPr>
          <p:cNvPr id="26" name="Bilde 25">
            <a:extLst>
              <a:ext uri="{FF2B5EF4-FFF2-40B4-BE49-F238E27FC236}">
                <a16:creationId xmlns:a16="http://schemas.microsoft.com/office/drawing/2014/main" id="{9B3C4E5D-9B67-4418-9A16-30FADFE0388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338023" y="3223655"/>
            <a:ext cx="609239" cy="609239"/>
          </a:xfrm>
          <a:prstGeom prst="rect">
            <a:avLst/>
          </a:prstGeom>
        </p:spPr>
      </p:pic>
      <p:pic>
        <p:nvPicPr>
          <p:cNvPr id="28" name="Bilde 27">
            <a:extLst>
              <a:ext uri="{FF2B5EF4-FFF2-40B4-BE49-F238E27FC236}">
                <a16:creationId xmlns:a16="http://schemas.microsoft.com/office/drawing/2014/main" id="{431B9CCC-FCBC-4F78-96E1-35220CFB0B2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819052" y="2232549"/>
            <a:ext cx="844413" cy="316655"/>
          </a:xfrm>
          <a:prstGeom prst="rect">
            <a:avLst/>
          </a:prstGeom>
        </p:spPr>
      </p:pic>
      <p:pic>
        <p:nvPicPr>
          <p:cNvPr id="30" name="Bilde 29">
            <a:extLst>
              <a:ext uri="{FF2B5EF4-FFF2-40B4-BE49-F238E27FC236}">
                <a16:creationId xmlns:a16="http://schemas.microsoft.com/office/drawing/2014/main" id="{C8EF67F9-C707-4EBD-A7CA-65B62F72DCF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139689" y="5225444"/>
            <a:ext cx="688224" cy="458816"/>
          </a:xfrm>
          <a:prstGeom prst="rect">
            <a:avLst/>
          </a:prstGeom>
        </p:spPr>
      </p:pic>
      <p:pic>
        <p:nvPicPr>
          <p:cNvPr id="2048" name="Bilde 2047">
            <a:extLst>
              <a:ext uri="{FF2B5EF4-FFF2-40B4-BE49-F238E27FC236}">
                <a16:creationId xmlns:a16="http://schemas.microsoft.com/office/drawing/2014/main" id="{F24400A6-0AD6-4A9C-9281-B0C3AFCAD6FD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043057" y="2241573"/>
            <a:ext cx="1449635" cy="171540"/>
          </a:xfrm>
          <a:prstGeom prst="rect">
            <a:avLst/>
          </a:prstGeom>
        </p:spPr>
      </p:pic>
      <p:pic>
        <p:nvPicPr>
          <p:cNvPr id="2055" name="Bilde 2054">
            <a:extLst>
              <a:ext uri="{FF2B5EF4-FFF2-40B4-BE49-F238E27FC236}">
                <a16:creationId xmlns:a16="http://schemas.microsoft.com/office/drawing/2014/main" id="{908062F5-96AF-4797-B1A8-242A679FDF26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138022" y="5426895"/>
            <a:ext cx="1138605" cy="683163"/>
          </a:xfrm>
          <a:prstGeom prst="rect">
            <a:avLst/>
          </a:prstGeom>
        </p:spPr>
      </p:pic>
      <p:pic>
        <p:nvPicPr>
          <p:cNvPr id="2056" name="Bilde 2055">
            <a:extLst>
              <a:ext uri="{FF2B5EF4-FFF2-40B4-BE49-F238E27FC236}">
                <a16:creationId xmlns:a16="http://schemas.microsoft.com/office/drawing/2014/main" id="{B72BAC69-C08F-4969-A2AA-9921894E31B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143025" y="4078075"/>
            <a:ext cx="833357" cy="398674"/>
          </a:xfrm>
          <a:prstGeom prst="rect">
            <a:avLst/>
          </a:prstGeom>
        </p:spPr>
      </p:pic>
      <p:pic>
        <p:nvPicPr>
          <p:cNvPr id="2060" name="Bilde 2059">
            <a:extLst>
              <a:ext uri="{FF2B5EF4-FFF2-40B4-BE49-F238E27FC236}">
                <a16:creationId xmlns:a16="http://schemas.microsoft.com/office/drawing/2014/main" id="{1DEE00C2-3A89-4B53-B1AB-DBEF1E68B6D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686999" y="2914703"/>
            <a:ext cx="1308678" cy="319963"/>
          </a:xfrm>
          <a:prstGeom prst="rect">
            <a:avLst/>
          </a:prstGeom>
        </p:spPr>
      </p:pic>
      <p:pic>
        <p:nvPicPr>
          <p:cNvPr id="2061" name="Bilde 2060">
            <a:extLst>
              <a:ext uri="{FF2B5EF4-FFF2-40B4-BE49-F238E27FC236}">
                <a16:creationId xmlns:a16="http://schemas.microsoft.com/office/drawing/2014/main" id="{45DF4204-A10E-4E48-9E59-797FE566CA5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646284" y="4391631"/>
            <a:ext cx="1097973" cy="744048"/>
          </a:xfrm>
          <a:prstGeom prst="rect">
            <a:avLst/>
          </a:prstGeom>
        </p:spPr>
      </p:pic>
      <p:pic>
        <p:nvPicPr>
          <p:cNvPr id="2062" name="Bilde 2061">
            <a:extLst>
              <a:ext uri="{FF2B5EF4-FFF2-40B4-BE49-F238E27FC236}">
                <a16:creationId xmlns:a16="http://schemas.microsoft.com/office/drawing/2014/main" id="{429982FC-99C0-41CE-8C99-829AE2795048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277001" y="5102586"/>
            <a:ext cx="1039998" cy="197519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3D892A38-94E3-4DE9-8045-DCDBF6B2EE8D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539411" y="1869876"/>
            <a:ext cx="991087" cy="995511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5B2478C1-E4F8-47BF-9188-0D9EEC4D0127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772463" y="3682936"/>
            <a:ext cx="993375" cy="530206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A9E7D482-A7EA-4489-B5C3-558A82BBF354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5058969" y="1952023"/>
            <a:ext cx="2076465" cy="40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902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C9DBF5-CFE7-467C-B1B3-12F73CA9A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skal vi snakke om?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D584C3F-481D-45CD-B65B-77FD5F7CD8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Samspill som begrep</a:t>
            </a:r>
          </a:p>
          <a:p>
            <a:r>
              <a:rPr lang="nb-NO" dirty="0"/>
              <a:t>Gjennomføringsmodeller og strategier</a:t>
            </a:r>
          </a:p>
          <a:p>
            <a:r>
              <a:rPr lang="nb-NO" dirty="0"/>
              <a:t>Mennesker og Team</a:t>
            </a:r>
          </a:p>
          <a:p>
            <a:r>
              <a:rPr lang="nb-NO" dirty="0"/>
              <a:t>Kontrakt- og betalingsvilkår</a:t>
            </a:r>
          </a:p>
          <a:p>
            <a:r>
              <a:rPr lang="nb-NO" dirty="0"/>
              <a:t>Suksessfaktorer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69079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5018A16B-59FF-47C2-B7E0-187B7F8E9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legger vi i begrepet samspil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B337AC-D762-4378-A129-3FD5F29691D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710363" y="1187450"/>
            <a:ext cx="5481637" cy="47640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800"/>
              <a:t>Det legges ulike ting i begrepet «samspill»</a:t>
            </a:r>
          </a:p>
          <a:p>
            <a:pPr marL="0" indent="0">
              <a:buNone/>
            </a:pPr>
            <a:endParaRPr lang="nb-NO" sz="500"/>
          </a:p>
          <a:p>
            <a:pPr marL="0" indent="0">
              <a:buNone/>
            </a:pPr>
            <a:r>
              <a:rPr lang="nb-NO" sz="1800"/>
              <a:t>Vår definisjon er:</a:t>
            </a:r>
          </a:p>
          <a:p>
            <a:r>
              <a:rPr lang="nb-NO" sz="1800"/>
              <a:t>Tidlig involvering av entreprenør for å utnytte deres kompetanse</a:t>
            </a:r>
          </a:p>
          <a:p>
            <a:r>
              <a:rPr lang="nb-NO" sz="1800"/>
              <a:t>Felles prosjektutviklingsfase</a:t>
            </a:r>
          </a:p>
          <a:p>
            <a:r>
              <a:rPr lang="nb-NO" sz="1800"/>
              <a:t>Felles incentiver i gjennomføringsfase</a:t>
            </a:r>
          </a:p>
          <a:p>
            <a:r>
              <a:rPr lang="nb-NO" sz="1800"/>
              <a:t>Integrert organisering mellom byggherre, bruker, entreprenør og prosjekteringsgruppe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0F726F22-27D9-4844-9BEF-0879FC026DEC}"/>
              </a:ext>
            </a:extLst>
          </p:cNvPr>
          <p:cNvSpPr/>
          <p:nvPr/>
        </p:nvSpPr>
        <p:spPr bwMode="auto">
          <a:xfrm>
            <a:off x="111859" y="1748352"/>
            <a:ext cx="6319684" cy="3915697"/>
          </a:xfrm>
          <a:prstGeom prst="ellipse">
            <a:avLst/>
          </a:prstGeom>
          <a:solidFill>
            <a:schemeClr val="bg2"/>
          </a:solidFill>
          <a:ln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89972" tIns="46785" rIns="89972" bIns="46785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104569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8A26689-E5E1-4D25-A63E-AFC092D1B0A1}"/>
              </a:ext>
            </a:extLst>
          </p:cNvPr>
          <p:cNvSpPr txBox="1"/>
          <p:nvPr/>
        </p:nvSpPr>
        <p:spPr>
          <a:xfrm>
            <a:off x="2408114" y="3396892"/>
            <a:ext cx="1875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«Samspill»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ACD9D60C-A701-4240-A7F8-F2FDF6AC0E3E}"/>
              </a:ext>
            </a:extLst>
          </p:cNvPr>
          <p:cNvSpPr txBox="1"/>
          <p:nvPr/>
        </p:nvSpPr>
        <p:spPr>
          <a:xfrm>
            <a:off x="1276638" y="4754550"/>
            <a:ext cx="16417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ålpris-kontrakt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8C90DF8C-6FD5-45D9-8CA9-0CF65C173832}"/>
              </a:ext>
            </a:extLst>
          </p:cNvPr>
          <p:cNvSpPr txBox="1"/>
          <p:nvPr/>
        </p:nvSpPr>
        <p:spPr>
          <a:xfrm>
            <a:off x="4242127" y="2660538"/>
            <a:ext cx="10310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Åpen bok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5B4877A8-4E2C-4097-B895-2F05EA22C78D}"/>
              </a:ext>
            </a:extLst>
          </p:cNvPr>
          <p:cNvSpPr txBox="1"/>
          <p:nvPr/>
        </p:nvSpPr>
        <p:spPr>
          <a:xfrm>
            <a:off x="3026152" y="4971576"/>
            <a:ext cx="17315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centiv-kontrakt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0441D96-F1D1-4E00-9C47-8FCF55AD439A}"/>
              </a:ext>
            </a:extLst>
          </p:cNvPr>
          <p:cNvSpPr txBox="1"/>
          <p:nvPr/>
        </p:nvSpPr>
        <p:spPr>
          <a:xfrm>
            <a:off x="3394779" y="2124115"/>
            <a:ext cx="13628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mhandl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CF28C5CC-E2F5-4F6B-8826-A97674226D72}"/>
              </a:ext>
            </a:extLst>
          </p:cNvPr>
          <p:cNvSpPr txBox="1"/>
          <p:nvPr/>
        </p:nvSpPr>
        <p:spPr>
          <a:xfrm>
            <a:off x="873015" y="2541343"/>
            <a:ext cx="19992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ert samarbeid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2C17470D-8236-4157-BA04-4DF17E2D3560}"/>
              </a:ext>
            </a:extLst>
          </p:cNvPr>
          <p:cNvSpPr txBox="1"/>
          <p:nvPr/>
        </p:nvSpPr>
        <p:spPr>
          <a:xfrm>
            <a:off x="4714146" y="3879005"/>
            <a:ext cx="1118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tnering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6808F29C-6E01-42F5-9D45-87074DA6641E}"/>
              </a:ext>
            </a:extLst>
          </p:cNvPr>
          <p:cNvSpPr txBox="1"/>
          <p:nvPr/>
        </p:nvSpPr>
        <p:spPr>
          <a:xfrm>
            <a:off x="2050916" y="2055614"/>
            <a:ext cx="878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lians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3655E40-A249-4637-9F7E-96C4770AD5A6}"/>
              </a:ext>
            </a:extLst>
          </p:cNvPr>
          <p:cNvSpPr txBox="1"/>
          <p:nvPr/>
        </p:nvSpPr>
        <p:spPr>
          <a:xfrm>
            <a:off x="2808780" y="4446773"/>
            <a:ext cx="2792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idlig entreprenørinvolvering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20B4970A-276C-4A7F-BD7F-3A9CB3973917}"/>
              </a:ext>
            </a:extLst>
          </p:cNvPr>
          <p:cNvSpPr txBox="1"/>
          <p:nvPr/>
        </p:nvSpPr>
        <p:spPr>
          <a:xfrm>
            <a:off x="434045" y="3438558"/>
            <a:ext cx="15614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st Value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urement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C0DDD701-CB07-44FE-B64E-646D14A5F9AD}"/>
              </a:ext>
            </a:extLst>
          </p:cNvPr>
          <p:cNvSpPr txBox="1"/>
          <p:nvPr/>
        </p:nvSpPr>
        <p:spPr>
          <a:xfrm>
            <a:off x="932817" y="4015936"/>
            <a:ext cx="2627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ated Project Delivery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6249CBE9-6094-46A4-A2D0-D9F19D4199A0}"/>
              </a:ext>
            </a:extLst>
          </p:cNvPr>
          <p:cNvSpPr txBox="1"/>
          <p:nvPr/>
        </p:nvSpPr>
        <p:spPr>
          <a:xfrm>
            <a:off x="5208623" y="3287344"/>
            <a:ext cx="4988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CI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305EC81-7E77-4868-B8C2-2D3301E1BC11}"/>
              </a:ext>
            </a:extLst>
          </p:cNvPr>
          <p:cNvSpPr txBox="1"/>
          <p:nvPr/>
        </p:nvSpPr>
        <p:spPr>
          <a:xfrm>
            <a:off x="1623941" y="2973941"/>
            <a:ext cx="26597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egrert prosjektleveranse</a:t>
            </a:r>
          </a:p>
        </p:txBody>
      </p:sp>
    </p:spTree>
    <p:extLst>
      <p:ext uri="{BB962C8B-B14F-4D97-AF65-F5344CB8AC3E}">
        <p14:creationId xmlns:p14="http://schemas.microsoft.com/office/powerpoint/2010/main" val="23610293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1DEFF1F-A167-4C18-AB7C-40C50BA836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1996"/>
            <a:ext cx="12192000" cy="540000"/>
          </a:xfrm>
        </p:spPr>
        <p:txBody>
          <a:bodyPr/>
          <a:lstStyle/>
          <a:p>
            <a:r>
              <a:rPr lang="nb-NO"/>
              <a:t>Viktig!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06DC6338-6959-4CD7-8AB1-B4478B9DDA08}"/>
              </a:ext>
            </a:extLst>
          </p:cNvPr>
          <p:cNvSpPr txBox="1"/>
          <p:nvPr/>
        </p:nvSpPr>
        <p:spPr>
          <a:xfrm>
            <a:off x="2889384" y="3044279"/>
            <a:ext cx="61815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10456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amspill er en gjennomføringsmodell</a:t>
            </a: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srgbClr val="E84E1B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07059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 bwMode="auto">
          <a:xfrm>
            <a:off x="5087888" y="1196752"/>
            <a:ext cx="1440160" cy="1368152"/>
          </a:xfrm>
          <a:prstGeom prst="ellipse">
            <a:avLst/>
          </a:prstGeom>
          <a:noFill/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4" name="Ellipse 3"/>
          <p:cNvSpPr/>
          <p:nvPr/>
        </p:nvSpPr>
        <p:spPr bwMode="auto">
          <a:xfrm>
            <a:off x="3650396" y="3140968"/>
            <a:ext cx="1440160" cy="1368152"/>
          </a:xfrm>
          <a:prstGeom prst="ellipse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5" name="Ellipse 4"/>
          <p:cNvSpPr/>
          <p:nvPr/>
        </p:nvSpPr>
        <p:spPr bwMode="auto">
          <a:xfrm>
            <a:off x="6672064" y="3140968"/>
            <a:ext cx="1440160" cy="1368152"/>
          </a:xfrm>
          <a:prstGeom prst="ellips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7" name="Pil høyre 6"/>
          <p:cNvSpPr/>
          <p:nvPr/>
        </p:nvSpPr>
        <p:spPr bwMode="auto">
          <a:xfrm rot="14171621">
            <a:off x="3067805" y="2646624"/>
            <a:ext cx="1080120" cy="412624"/>
          </a:xfrm>
          <a:prstGeom prst="rightArrow">
            <a:avLst>
              <a:gd name="adj1" fmla="val 50000"/>
              <a:gd name="adj2" fmla="val 47184"/>
            </a:avLst>
          </a:prstGeom>
          <a:solidFill>
            <a:schemeClr val="accent2"/>
          </a:solidFill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8" name="Pil høyre 7"/>
          <p:cNvSpPr/>
          <p:nvPr/>
        </p:nvSpPr>
        <p:spPr bwMode="auto">
          <a:xfrm rot="18022996">
            <a:off x="5833275" y="590736"/>
            <a:ext cx="1080120" cy="412624"/>
          </a:xfrm>
          <a:prstGeom prst="rightArrow">
            <a:avLst>
              <a:gd name="adj1" fmla="val 50000"/>
              <a:gd name="adj2" fmla="val 47184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9" name="Pil høyre 8"/>
          <p:cNvSpPr/>
          <p:nvPr/>
        </p:nvSpPr>
        <p:spPr bwMode="auto">
          <a:xfrm rot="20141880">
            <a:off x="8003164" y="3140968"/>
            <a:ext cx="1080120" cy="412624"/>
          </a:xfrm>
          <a:prstGeom prst="rightArrow">
            <a:avLst>
              <a:gd name="adj1" fmla="val 50000"/>
              <a:gd name="adj2" fmla="val 47184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algn="ctr" defTabSz="914377" eaLnBrk="0" hangingPunct="0"/>
            <a:endParaRPr lang="nb-NO" sz="1400"/>
          </a:p>
        </p:txBody>
      </p:sp>
      <p:sp>
        <p:nvSpPr>
          <p:cNvPr id="10" name="TekstSylinder 9"/>
          <p:cNvSpPr txBox="1"/>
          <p:nvPr/>
        </p:nvSpPr>
        <p:spPr>
          <a:xfrm>
            <a:off x="5207635" y="1696164"/>
            <a:ext cx="9285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Byggherre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6730008" y="3592220"/>
            <a:ext cx="10727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Entreprenør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3869699" y="3592220"/>
            <a:ext cx="8225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Rådgiver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7878374" y="5825942"/>
            <a:ext cx="1216059" cy="307777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Leverandør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5798730" y="5260670"/>
            <a:ext cx="2004007" cy="307777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Underentreprenør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7802737" y="4823412"/>
            <a:ext cx="1795435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Underentreprenør</a:t>
            </a:r>
          </a:p>
        </p:txBody>
      </p:sp>
      <p:sp>
        <p:nvSpPr>
          <p:cNvPr id="16" name="TekstSylinder 15"/>
          <p:cNvSpPr txBox="1"/>
          <p:nvPr/>
        </p:nvSpPr>
        <p:spPr>
          <a:xfrm>
            <a:off x="2279576" y="5301209"/>
            <a:ext cx="932123" cy="307777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Arkitekt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4038897" y="4960372"/>
            <a:ext cx="1094732" cy="307777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Konsulent</a:t>
            </a:r>
          </a:p>
        </p:txBody>
      </p:sp>
      <p:sp>
        <p:nvSpPr>
          <p:cNvPr id="18" name="TekstSylinder 17"/>
          <p:cNvSpPr txBox="1"/>
          <p:nvPr/>
        </p:nvSpPr>
        <p:spPr>
          <a:xfrm>
            <a:off x="3719737" y="5805265"/>
            <a:ext cx="972495" cy="307777"/>
          </a:xfrm>
          <a:prstGeom prst="rect">
            <a:avLst/>
          </a:prstGeom>
          <a:noFill/>
          <a:ln w="28575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dirty="0"/>
              <a:t>Rådgiver</a:t>
            </a:r>
          </a:p>
        </p:txBody>
      </p:sp>
      <p:cxnSp>
        <p:nvCxnSpPr>
          <p:cNvPr id="21" name="Rett pilkobling 20"/>
          <p:cNvCxnSpPr/>
          <p:nvPr/>
        </p:nvCxnSpPr>
        <p:spPr bwMode="auto">
          <a:xfrm flipH="1" flipV="1">
            <a:off x="2155035" y="4759899"/>
            <a:ext cx="249083" cy="533895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Rett pilkobling 25"/>
          <p:cNvCxnSpPr/>
          <p:nvPr/>
        </p:nvCxnSpPr>
        <p:spPr bwMode="auto">
          <a:xfrm flipH="1">
            <a:off x="3211700" y="6026204"/>
            <a:ext cx="508037" cy="310043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7030A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Rett pilkobling 26"/>
          <p:cNvCxnSpPr>
            <a:cxnSpLocks/>
          </p:cNvCxnSpPr>
          <p:nvPr/>
        </p:nvCxnSpPr>
        <p:spPr bwMode="auto">
          <a:xfrm flipV="1">
            <a:off x="4952802" y="4412801"/>
            <a:ext cx="586556" cy="54757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70C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Rett pilkobling 30"/>
          <p:cNvCxnSpPr/>
          <p:nvPr/>
        </p:nvCxnSpPr>
        <p:spPr bwMode="auto">
          <a:xfrm flipV="1">
            <a:off x="9372438" y="4283208"/>
            <a:ext cx="451468" cy="54757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FF000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Rett pilkobling 31"/>
          <p:cNvCxnSpPr/>
          <p:nvPr/>
        </p:nvCxnSpPr>
        <p:spPr bwMode="auto">
          <a:xfrm flipH="1" flipV="1">
            <a:off x="6112529" y="4615701"/>
            <a:ext cx="202579" cy="644969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00B050"/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Rett pilkobling 32"/>
          <p:cNvCxnSpPr/>
          <p:nvPr/>
        </p:nvCxnSpPr>
        <p:spPr bwMode="auto">
          <a:xfrm>
            <a:off x="9094433" y="6075881"/>
            <a:ext cx="818321" cy="126961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sm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kstSylinder 22"/>
          <p:cNvSpPr txBox="1"/>
          <p:nvPr/>
        </p:nvSpPr>
        <p:spPr>
          <a:xfrm>
            <a:off x="569823" y="612384"/>
            <a:ext cx="34322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800" dirty="0">
                <a:solidFill>
                  <a:schemeClr val="accent1"/>
                </a:solidFill>
              </a:rPr>
              <a:t>Hvordan unngå dette?</a:t>
            </a:r>
          </a:p>
        </p:txBody>
      </p:sp>
    </p:spTree>
    <p:extLst>
      <p:ext uri="{BB962C8B-B14F-4D97-AF65-F5344CB8AC3E}">
        <p14:creationId xmlns:p14="http://schemas.microsoft.com/office/powerpoint/2010/main" val="1896820063"/>
      </p:ext>
    </p:extLst>
  </p:cSld>
  <p:clrMapOvr>
    <a:masterClrMapping/>
  </p:clrMapOvr>
</p:sld>
</file>

<file path=ppt/theme/theme1.xml><?xml version="1.0" encoding="utf-8"?>
<a:theme xmlns:a="http://schemas.openxmlformats.org/drawingml/2006/main" name="Marstrand">
  <a:themeElements>
    <a:clrScheme name="Marstrand">
      <a:dk1>
        <a:srgbClr val="0C0C0C"/>
      </a:dk1>
      <a:lt1>
        <a:srgbClr val="FFFFFF"/>
      </a:lt1>
      <a:dk2>
        <a:srgbClr val="104569"/>
      </a:dk2>
      <a:lt2>
        <a:srgbClr val="F2F2F2"/>
      </a:lt2>
      <a:accent1>
        <a:srgbClr val="274A35"/>
      </a:accent1>
      <a:accent2>
        <a:srgbClr val="ADCEDF"/>
      </a:accent2>
      <a:accent3>
        <a:srgbClr val="BFCDC7"/>
      </a:accent3>
      <a:accent4>
        <a:srgbClr val="E84E1B"/>
      </a:accent4>
      <a:accent5>
        <a:srgbClr val="70AD47"/>
      </a:accent5>
      <a:accent6>
        <a:srgbClr val="954F72"/>
      </a:accent6>
      <a:hlink>
        <a:srgbClr val="44546A"/>
      </a:hlink>
      <a:folHlink>
        <a:srgbClr val="44546A"/>
      </a:folHlink>
    </a:clrScheme>
    <a:fontScheme name="Marstran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rstrand v0.1.potx" id="{31629EDC-65D0-40D7-B03F-C62103312C62}" vid="{A146D2C4-F649-446A-9335-79C516883C9E}"/>
    </a:ext>
  </a:extLst>
</a:theme>
</file>

<file path=ppt/theme/theme2.xml><?xml version="1.0" encoding="utf-8"?>
<a:theme xmlns:a="http://schemas.openxmlformats.org/drawingml/2006/main" name="3_Marstrand">
  <a:themeElements>
    <a:clrScheme name="Marstrand">
      <a:dk1>
        <a:srgbClr val="0C0C0C"/>
      </a:dk1>
      <a:lt1>
        <a:srgbClr val="FFFFFF"/>
      </a:lt1>
      <a:dk2>
        <a:srgbClr val="104569"/>
      </a:dk2>
      <a:lt2>
        <a:srgbClr val="F2F2F2"/>
      </a:lt2>
      <a:accent1>
        <a:srgbClr val="274A35"/>
      </a:accent1>
      <a:accent2>
        <a:srgbClr val="ADCEDF"/>
      </a:accent2>
      <a:accent3>
        <a:srgbClr val="BFCDC7"/>
      </a:accent3>
      <a:accent4>
        <a:srgbClr val="E84E1B"/>
      </a:accent4>
      <a:accent5>
        <a:srgbClr val="70AD47"/>
      </a:accent5>
      <a:accent6>
        <a:srgbClr val="954F72"/>
      </a:accent6>
      <a:hlink>
        <a:srgbClr val="44546A"/>
      </a:hlink>
      <a:folHlink>
        <a:srgbClr val="44546A"/>
      </a:folHlink>
    </a:clrScheme>
    <a:fontScheme name="Marstran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rstrand v0.1.potx" id="{31629EDC-65D0-40D7-B03F-C62103312C62}" vid="{A146D2C4-F649-446A-9335-79C516883C9E}"/>
    </a:ext>
  </a:extLst>
</a:theme>
</file>

<file path=ppt/theme/theme3.xml><?xml version="1.0" encoding="utf-8"?>
<a:theme xmlns:a="http://schemas.openxmlformats.org/drawingml/2006/main" name="1_Marstrand">
  <a:themeElements>
    <a:clrScheme name="Marstrand">
      <a:dk1>
        <a:srgbClr val="0C0C0C"/>
      </a:dk1>
      <a:lt1>
        <a:srgbClr val="FFFFFF"/>
      </a:lt1>
      <a:dk2>
        <a:srgbClr val="104569"/>
      </a:dk2>
      <a:lt2>
        <a:srgbClr val="F2F2F2"/>
      </a:lt2>
      <a:accent1>
        <a:srgbClr val="274A35"/>
      </a:accent1>
      <a:accent2>
        <a:srgbClr val="ADCEDF"/>
      </a:accent2>
      <a:accent3>
        <a:srgbClr val="BFCDC7"/>
      </a:accent3>
      <a:accent4>
        <a:srgbClr val="E84E1B"/>
      </a:accent4>
      <a:accent5>
        <a:srgbClr val="70AD47"/>
      </a:accent5>
      <a:accent6>
        <a:srgbClr val="954F72"/>
      </a:accent6>
      <a:hlink>
        <a:srgbClr val="44546A"/>
      </a:hlink>
      <a:folHlink>
        <a:srgbClr val="44546A"/>
      </a:folHlink>
    </a:clrScheme>
    <a:fontScheme name="Marstran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rstrand v1.potx" id="{62D3A5E3-6F1A-47B1-8C3E-115F4D858B52}" vid="{54A1A973-D414-40EF-BA89-D4E721D06F64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56641F816CFA549834BBCD47A192574" ma:contentTypeVersion="2" ma:contentTypeDescription="Opprett et nytt dokument." ma:contentTypeScope="" ma:versionID="8513308691005186d0dc1ab68d861da0">
  <xsd:schema xmlns:xsd="http://www.w3.org/2001/XMLSchema" xmlns:xs="http://www.w3.org/2001/XMLSchema" xmlns:p="http://schemas.microsoft.com/office/2006/metadata/properties" xmlns:ns3="63a44b74-5ba3-4d2b-b566-498b45550035" targetNamespace="http://schemas.microsoft.com/office/2006/metadata/properties" ma:root="true" ma:fieldsID="c4261a251b095817ea003da19421cbce" ns3:_="">
    <xsd:import namespace="63a44b74-5ba3-4d2b-b566-498b4555003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44b74-5ba3-4d2b-b566-498b4555003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430F7E-EF00-4106-BA52-858B89BEC5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a44b74-5ba3-4d2b-b566-498b455500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6915870-D028-467B-968C-C794B4A0509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63a44b74-5ba3-4d2b-b566-498b45550035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31EB9EF-A9B4-4032-BC23-B42DB8AADF3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27</TotalTime>
  <Words>1194</Words>
  <Application>Microsoft Office PowerPoint</Application>
  <PresentationFormat>Widescreen</PresentationFormat>
  <Paragraphs>357</Paragraphs>
  <Slides>29</Slides>
  <Notes>9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9</vt:i4>
      </vt:variant>
    </vt:vector>
  </HeadingPairs>
  <TitlesOfParts>
    <vt:vector size="38" baseType="lpstr">
      <vt:lpstr>Arial</vt:lpstr>
      <vt:lpstr>Calibri</vt:lpstr>
      <vt:lpstr>Verdana</vt:lpstr>
      <vt:lpstr>Verdana (headings)</vt:lpstr>
      <vt:lpstr>Wingdings</vt:lpstr>
      <vt:lpstr>Marstrand</vt:lpstr>
      <vt:lpstr>3_Marstrand</vt:lpstr>
      <vt:lpstr>1_Marstrand</vt:lpstr>
      <vt:lpstr>think-cell Slide</vt:lpstr>
      <vt:lpstr>Samspill som gjennomføringsmodell</vt:lpstr>
      <vt:lpstr>Litt om Marstrand - Visjon</vt:lpstr>
      <vt:lpstr>Tverrfaglig kompetanse</vt:lpstr>
      <vt:lpstr>Tjenester: Sikre gode prosjekter - fysiske og digitale</vt:lpstr>
      <vt:lpstr>Samspill: Kilder og referanser</vt:lpstr>
      <vt:lpstr>Hva skal vi snakke om?</vt:lpstr>
      <vt:lpstr>Hva legger vi i begrepet samspill?</vt:lpstr>
      <vt:lpstr>Viktig!</vt:lpstr>
      <vt:lpstr>PowerPoint-presentasjon</vt:lpstr>
      <vt:lpstr>PowerPoint-presentasjon</vt:lpstr>
      <vt:lpstr>PowerPoint-presentasjon</vt:lpstr>
      <vt:lpstr>”Galskap er å gjøre det samme om og om igjen, å forvente et annet resultat” Albert Einstein</vt:lpstr>
      <vt:lpstr>PowerPoint-presentasjon</vt:lpstr>
      <vt:lpstr>Valg mellom hovedstrategier  – en sammenligning av tradisjonell modell og samspill</vt:lpstr>
      <vt:lpstr>Tidspunkt for involvering av nøkkelaktører</vt:lpstr>
      <vt:lpstr>Fordeler med samspillsmodellen</vt:lpstr>
      <vt:lpstr>Dimensjoner i samspill som gjennomføringsmodell</vt:lpstr>
      <vt:lpstr>Mennesker og team</vt:lpstr>
      <vt:lpstr>Til syvende og sist handler suksessen om mennesker</vt:lpstr>
      <vt:lpstr>Eksempler på forhold som bygger tillit</vt:lpstr>
      <vt:lpstr>Integrert organisasjon</vt:lpstr>
      <vt:lpstr>Felles mål – prosjektets beste!</vt:lpstr>
      <vt:lpstr>Vederlag og insentiver</vt:lpstr>
      <vt:lpstr>Samspill i Fase 1 og Fase 2</vt:lpstr>
      <vt:lpstr>Vederlag og insentiver</vt:lpstr>
      <vt:lpstr>Insentiver i prosjekt</vt:lpstr>
      <vt:lpstr>suksessFaktorer</vt:lpstr>
      <vt:lpstr>Suksessfaktorer</vt:lpstr>
      <vt:lpstr>Takk for OSS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spill som gjennomføringsmodell</dc:title>
  <dc:creator>Paul Torgersen</dc:creator>
  <cp:lastModifiedBy>morten.christensen@marstrand.no</cp:lastModifiedBy>
  <cp:revision>22</cp:revision>
  <dcterms:created xsi:type="dcterms:W3CDTF">2019-03-04T08:03:02Z</dcterms:created>
  <dcterms:modified xsi:type="dcterms:W3CDTF">2020-04-17T14:0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Ids_UIVersion_7680">
    <vt:lpwstr>22</vt:lpwstr>
  </property>
  <property fmtid="{D5CDD505-2E9C-101B-9397-08002B2CF9AE}" pid="3" name="ContentTypeId">
    <vt:lpwstr>0x010100756641F816CFA549834BBCD47A192574</vt:lpwstr>
  </property>
  <property fmtid="{D5CDD505-2E9C-101B-9397-08002B2CF9AE}" pid="4" name="MSIP_Label_0fbf2baf-180d-443e-afb2-39fec9190ea0_Enabled">
    <vt:lpwstr>True</vt:lpwstr>
  </property>
  <property fmtid="{D5CDD505-2E9C-101B-9397-08002B2CF9AE}" pid="5" name="MSIP_Label_0fbf2baf-180d-443e-afb2-39fec9190ea0_SiteId">
    <vt:lpwstr>5369f773-a12e-43e1-b302-ca709e943ec9</vt:lpwstr>
  </property>
  <property fmtid="{D5CDD505-2E9C-101B-9397-08002B2CF9AE}" pid="6" name="MSIP_Label_0fbf2baf-180d-443e-afb2-39fec9190ea0_Owner">
    <vt:lpwstr>mikkel.hessen@marstrand.no</vt:lpwstr>
  </property>
  <property fmtid="{D5CDD505-2E9C-101B-9397-08002B2CF9AE}" pid="7" name="MSIP_Label_0fbf2baf-180d-443e-afb2-39fec9190ea0_SetDate">
    <vt:lpwstr>2019-05-13T10:20:12.5630972Z</vt:lpwstr>
  </property>
  <property fmtid="{D5CDD505-2E9C-101B-9397-08002B2CF9AE}" pid="8" name="MSIP_Label_0fbf2baf-180d-443e-afb2-39fec9190ea0_Name">
    <vt:lpwstr>Confidential</vt:lpwstr>
  </property>
  <property fmtid="{D5CDD505-2E9C-101B-9397-08002B2CF9AE}" pid="9" name="MSIP_Label_0fbf2baf-180d-443e-afb2-39fec9190ea0_Application">
    <vt:lpwstr>Microsoft Azure Information Protection</vt:lpwstr>
  </property>
  <property fmtid="{D5CDD505-2E9C-101B-9397-08002B2CF9AE}" pid="10" name="MSIP_Label_0fbf2baf-180d-443e-afb2-39fec9190ea0_Extended_MSFT_Method">
    <vt:lpwstr>Manual</vt:lpwstr>
  </property>
  <property fmtid="{D5CDD505-2E9C-101B-9397-08002B2CF9AE}" pid="11" name="MSIP_Label_abc65b97-5db3-485a-b8ff-77ce8e6bed61_Enabled">
    <vt:lpwstr>True</vt:lpwstr>
  </property>
  <property fmtid="{D5CDD505-2E9C-101B-9397-08002B2CF9AE}" pid="12" name="MSIP_Label_abc65b97-5db3-485a-b8ff-77ce8e6bed61_SiteId">
    <vt:lpwstr>5369f773-a12e-43e1-b302-ca709e943ec9</vt:lpwstr>
  </property>
  <property fmtid="{D5CDD505-2E9C-101B-9397-08002B2CF9AE}" pid="13" name="MSIP_Label_abc65b97-5db3-485a-b8ff-77ce8e6bed61_Owner">
    <vt:lpwstr>mikkel.hessen@marstrand.no</vt:lpwstr>
  </property>
  <property fmtid="{D5CDD505-2E9C-101B-9397-08002B2CF9AE}" pid="14" name="MSIP_Label_abc65b97-5db3-485a-b8ff-77ce8e6bed61_SetDate">
    <vt:lpwstr>2019-05-13T10:20:12.5630972Z</vt:lpwstr>
  </property>
  <property fmtid="{D5CDD505-2E9C-101B-9397-08002B2CF9AE}" pid="15" name="MSIP_Label_abc65b97-5db3-485a-b8ff-77ce8e6bed61_Name">
    <vt:lpwstr>Anyone (not protected)</vt:lpwstr>
  </property>
  <property fmtid="{D5CDD505-2E9C-101B-9397-08002B2CF9AE}" pid="16" name="MSIP_Label_abc65b97-5db3-485a-b8ff-77ce8e6bed61_Application">
    <vt:lpwstr>Microsoft Azure Information Protection</vt:lpwstr>
  </property>
  <property fmtid="{D5CDD505-2E9C-101B-9397-08002B2CF9AE}" pid="17" name="MSIP_Label_abc65b97-5db3-485a-b8ff-77ce8e6bed61_Parent">
    <vt:lpwstr>0fbf2baf-180d-443e-afb2-39fec9190ea0</vt:lpwstr>
  </property>
  <property fmtid="{D5CDD505-2E9C-101B-9397-08002B2CF9AE}" pid="18" name="MSIP_Label_abc65b97-5db3-485a-b8ff-77ce8e6bed61_Extended_MSFT_Method">
    <vt:lpwstr>Manual</vt:lpwstr>
  </property>
  <property fmtid="{D5CDD505-2E9C-101B-9397-08002B2CF9AE}" pid="19" name="Sensitivity">
    <vt:lpwstr>Confidential Anyone (not protected)</vt:lpwstr>
  </property>
</Properties>
</file>